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6" r:id="rId2"/>
  </p:sldMasterIdLst>
  <p:notesMasterIdLst>
    <p:notesMasterId r:id="rId53"/>
  </p:notesMasterIdLst>
  <p:sldIdLst>
    <p:sldId id="1133" r:id="rId3"/>
    <p:sldId id="1297" r:id="rId4"/>
    <p:sldId id="1293" r:id="rId5"/>
    <p:sldId id="1421" r:id="rId6"/>
    <p:sldId id="1420" r:id="rId7"/>
    <p:sldId id="1454" r:id="rId8"/>
    <p:sldId id="1455" r:id="rId9"/>
    <p:sldId id="1339" r:id="rId10"/>
    <p:sldId id="1340" r:id="rId11"/>
    <p:sldId id="1423" r:id="rId12"/>
    <p:sldId id="1438" r:id="rId13"/>
    <p:sldId id="1417" r:id="rId14"/>
    <p:sldId id="1424" r:id="rId15"/>
    <p:sldId id="1439" r:id="rId16"/>
    <p:sldId id="1414" r:id="rId17"/>
    <p:sldId id="1425" r:id="rId18"/>
    <p:sldId id="1440" r:id="rId19"/>
    <p:sldId id="1411" r:id="rId20"/>
    <p:sldId id="1426" r:id="rId21"/>
    <p:sldId id="1441" r:id="rId22"/>
    <p:sldId id="1408" r:id="rId23"/>
    <p:sldId id="1427" r:id="rId24"/>
    <p:sldId id="1442" r:id="rId25"/>
    <p:sldId id="1405" r:id="rId26"/>
    <p:sldId id="1428" r:id="rId27"/>
    <p:sldId id="1443" r:id="rId28"/>
    <p:sldId id="1402" r:id="rId29"/>
    <p:sldId id="1429" r:id="rId30"/>
    <p:sldId id="1444" r:id="rId31"/>
    <p:sldId id="1399" r:id="rId32"/>
    <p:sldId id="1430" r:id="rId33"/>
    <p:sldId id="1453" r:id="rId34"/>
    <p:sldId id="1396" r:id="rId35"/>
    <p:sldId id="1431" r:id="rId36"/>
    <p:sldId id="1446" r:id="rId37"/>
    <p:sldId id="1393" r:id="rId38"/>
    <p:sldId id="1432" r:id="rId39"/>
    <p:sldId id="1447" r:id="rId40"/>
    <p:sldId id="1390" r:id="rId41"/>
    <p:sldId id="1433" r:id="rId42"/>
    <p:sldId id="1448" r:id="rId43"/>
    <p:sldId id="1387" r:id="rId44"/>
    <p:sldId id="1434" r:id="rId45"/>
    <p:sldId id="1452" r:id="rId46"/>
    <p:sldId id="1384" r:id="rId47"/>
    <p:sldId id="1435" r:id="rId48"/>
    <p:sldId id="1450" r:id="rId49"/>
    <p:sldId id="1381" r:id="rId50"/>
    <p:sldId id="1436" r:id="rId51"/>
    <p:sldId id="1451" r:id="rId52"/>
  </p:sldIdLst>
  <p:sldSz cx="12192000" cy="6858000"/>
  <p:notesSz cx="6858000" cy="9144000"/>
  <p:custDataLst>
    <p:tags r:id="rId5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váková Tereza Mgr." initials="NTM" lastIdx="1" clrIdx="0">
    <p:extLst>
      <p:ext uri="{19B8F6BF-5375-455C-9EA6-DF929625EA0E}">
        <p15:presenceInfo xmlns:p15="http://schemas.microsoft.com/office/powerpoint/2012/main" userId="S::novakovat@mzcr.cz::9b40fe94-c8d5-4b97-8e02-cc7b1fbd6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FF00"/>
    <a:srgbClr val="FF6600"/>
    <a:srgbClr val="305983"/>
    <a:srgbClr val="00CD61"/>
    <a:srgbClr val="D31145"/>
    <a:srgbClr val="FFC000"/>
    <a:srgbClr val="0070C0"/>
    <a:srgbClr val="00B05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5297" autoAdjust="0"/>
  </p:normalViewPr>
  <p:slideViewPr>
    <p:cSldViewPr snapToGrid="0">
      <p:cViewPr varScale="1">
        <p:scale>
          <a:sx n="107" d="100"/>
          <a:sy n="107" d="100"/>
        </p:scale>
        <p:origin x="198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2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3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4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50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2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61</c:v>
                </c:pt>
                <c:pt idx="99">
                  <c:v>14537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3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1</c:v>
                </c:pt>
                <c:pt idx="108">
                  <c:v>9709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3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3</c:v>
                </c:pt>
                <c:pt idx="127">
                  <c:v>7052</c:v>
                </c:pt>
                <c:pt idx="128">
                  <c:v>5281</c:v>
                </c:pt>
                <c:pt idx="129">
                  <c:v>4819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8</c:v>
                </c:pt>
                <c:pt idx="149">
                  <c:v>2228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6</c:v>
                </c:pt>
                <c:pt idx="167">
                  <c:v>1129</c:v>
                </c:pt>
                <c:pt idx="168">
                  <c:v>1198</c:v>
                </c:pt>
                <c:pt idx="169">
                  <c:v>778</c:v>
                </c:pt>
                <c:pt idx="170">
                  <c:v>679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7</c:v>
                </c:pt>
                <c:pt idx="175">
                  <c:v>658</c:v>
                </c:pt>
                <c:pt idx="176">
                  <c:v>539</c:v>
                </c:pt>
                <c:pt idx="177">
                  <c:v>506</c:v>
                </c:pt>
                <c:pt idx="178">
                  <c:v>456</c:v>
                </c:pt>
                <c:pt idx="179">
                  <c:v>222</c:v>
                </c:pt>
                <c:pt idx="180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56</c:v>
                </c:pt>
                <c:pt idx="1">
                  <c:v>255</c:v>
                </c:pt>
                <c:pt idx="2">
                  <c:v>255</c:v>
                </c:pt>
                <c:pt idx="3">
                  <c:v>270</c:v>
                </c:pt>
                <c:pt idx="4">
                  <c:v>158</c:v>
                </c:pt>
                <c:pt idx="5">
                  <c:v>21</c:v>
                </c:pt>
                <c:pt idx="6">
                  <c:v>175</c:v>
                </c:pt>
                <c:pt idx="7">
                  <c:v>312</c:v>
                </c:pt>
                <c:pt idx="8">
                  <c:v>371</c:v>
                </c:pt>
                <c:pt idx="9">
                  <c:v>260</c:v>
                </c:pt>
                <c:pt idx="10">
                  <c:v>290</c:v>
                </c:pt>
                <c:pt idx="11">
                  <c:v>208</c:v>
                </c:pt>
                <c:pt idx="12">
                  <c:v>20</c:v>
                </c:pt>
                <c:pt idx="13">
                  <c:v>195</c:v>
                </c:pt>
                <c:pt idx="14">
                  <c:v>347</c:v>
                </c:pt>
                <c:pt idx="15">
                  <c:v>456</c:v>
                </c:pt>
                <c:pt idx="16">
                  <c:v>261</c:v>
                </c:pt>
                <c:pt idx="17">
                  <c:v>399</c:v>
                </c:pt>
                <c:pt idx="18">
                  <c:v>204</c:v>
                </c:pt>
                <c:pt idx="19">
                  <c:v>41</c:v>
                </c:pt>
                <c:pt idx="20">
                  <c:v>321</c:v>
                </c:pt>
                <c:pt idx="21">
                  <c:v>594</c:v>
                </c:pt>
                <c:pt idx="22">
                  <c:v>725</c:v>
                </c:pt>
                <c:pt idx="23">
                  <c:v>230</c:v>
                </c:pt>
                <c:pt idx="24">
                  <c:v>124</c:v>
                </c:pt>
                <c:pt idx="25">
                  <c:v>95</c:v>
                </c:pt>
                <c:pt idx="26">
                  <c:v>119</c:v>
                </c:pt>
                <c:pt idx="27">
                  <c:v>499</c:v>
                </c:pt>
                <c:pt idx="28">
                  <c:v>900</c:v>
                </c:pt>
                <c:pt idx="29">
                  <c:v>868</c:v>
                </c:pt>
                <c:pt idx="30">
                  <c:v>634</c:v>
                </c:pt>
                <c:pt idx="31">
                  <c:v>68</c:v>
                </c:pt>
                <c:pt idx="32">
                  <c:v>138</c:v>
                </c:pt>
                <c:pt idx="33">
                  <c:v>101</c:v>
                </c:pt>
                <c:pt idx="34">
                  <c:v>594</c:v>
                </c:pt>
                <c:pt idx="35">
                  <c:v>1004</c:v>
                </c:pt>
                <c:pt idx="36">
                  <c:v>799</c:v>
                </c:pt>
                <c:pt idx="37">
                  <c:v>919</c:v>
                </c:pt>
                <c:pt idx="38">
                  <c:v>814</c:v>
                </c:pt>
                <c:pt idx="39">
                  <c:v>302</c:v>
                </c:pt>
                <c:pt idx="40">
                  <c:v>45</c:v>
                </c:pt>
                <c:pt idx="41">
                  <c:v>403</c:v>
                </c:pt>
                <c:pt idx="42">
                  <c:v>658</c:v>
                </c:pt>
                <c:pt idx="43">
                  <c:v>621</c:v>
                </c:pt>
                <c:pt idx="44">
                  <c:v>476</c:v>
                </c:pt>
                <c:pt idx="45">
                  <c:v>640</c:v>
                </c:pt>
                <c:pt idx="46">
                  <c:v>206</c:v>
                </c:pt>
                <c:pt idx="47">
                  <c:v>19</c:v>
                </c:pt>
                <c:pt idx="48">
                  <c:v>347</c:v>
                </c:pt>
                <c:pt idx="49">
                  <c:v>520</c:v>
                </c:pt>
                <c:pt idx="50">
                  <c:v>413</c:v>
                </c:pt>
                <c:pt idx="51">
                  <c:v>493</c:v>
                </c:pt>
                <c:pt idx="52">
                  <c:v>467</c:v>
                </c:pt>
                <c:pt idx="53">
                  <c:v>137</c:v>
                </c:pt>
                <c:pt idx="54">
                  <c:v>46</c:v>
                </c:pt>
                <c:pt idx="55">
                  <c:v>302</c:v>
                </c:pt>
                <c:pt idx="56">
                  <c:v>533</c:v>
                </c:pt>
                <c:pt idx="57">
                  <c:v>466</c:v>
                </c:pt>
                <c:pt idx="58">
                  <c:v>422</c:v>
                </c:pt>
                <c:pt idx="59">
                  <c:v>423</c:v>
                </c:pt>
                <c:pt idx="60">
                  <c:v>124</c:v>
                </c:pt>
                <c:pt idx="61">
                  <c:v>82</c:v>
                </c:pt>
                <c:pt idx="62">
                  <c:v>369</c:v>
                </c:pt>
                <c:pt idx="63">
                  <c:v>472</c:v>
                </c:pt>
                <c:pt idx="64">
                  <c:v>458</c:v>
                </c:pt>
                <c:pt idx="65">
                  <c:v>467</c:v>
                </c:pt>
                <c:pt idx="66">
                  <c:v>450</c:v>
                </c:pt>
                <c:pt idx="67">
                  <c:v>119</c:v>
                </c:pt>
                <c:pt idx="68">
                  <c:v>69</c:v>
                </c:pt>
                <c:pt idx="69">
                  <c:v>341</c:v>
                </c:pt>
                <c:pt idx="70">
                  <c:v>453</c:v>
                </c:pt>
                <c:pt idx="71">
                  <c:v>475</c:v>
                </c:pt>
                <c:pt idx="72">
                  <c:v>607</c:v>
                </c:pt>
                <c:pt idx="73">
                  <c:v>407</c:v>
                </c:pt>
                <c:pt idx="74">
                  <c:v>156</c:v>
                </c:pt>
                <c:pt idx="75">
                  <c:v>58</c:v>
                </c:pt>
                <c:pt idx="76">
                  <c:v>391</c:v>
                </c:pt>
                <c:pt idx="77">
                  <c:v>734</c:v>
                </c:pt>
                <c:pt idx="78">
                  <c:v>547</c:v>
                </c:pt>
                <c:pt idx="79">
                  <c:v>533</c:v>
                </c:pt>
                <c:pt idx="80">
                  <c:v>641</c:v>
                </c:pt>
                <c:pt idx="81">
                  <c:v>120</c:v>
                </c:pt>
                <c:pt idx="82">
                  <c:v>188</c:v>
                </c:pt>
                <c:pt idx="83">
                  <c:v>515</c:v>
                </c:pt>
                <c:pt idx="84">
                  <c:v>702</c:v>
                </c:pt>
                <c:pt idx="85">
                  <c:v>696</c:v>
                </c:pt>
                <c:pt idx="86">
                  <c:v>938</c:v>
                </c:pt>
                <c:pt idx="87">
                  <c:v>833</c:v>
                </c:pt>
                <c:pt idx="88">
                  <c:v>414</c:v>
                </c:pt>
                <c:pt idx="89">
                  <c:v>75</c:v>
                </c:pt>
                <c:pt idx="90">
                  <c:v>585</c:v>
                </c:pt>
                <c:pt idx="91">
                  <c:v>988</c:v>
                </c:pt>
                <c:pt idx="92">
                  <c:v>1085</c:v>
                </c:pt>
                <c:pt idx="93">
                  <c:v>1021</c:v>
                </c:pt>
                <c:pt idx="94">
                  <c:v>1007</c:v>
                </c:pt>
                <c:pt idx="95">
                  <c:v>547</c:v>
                </c:pt>
                <c:pt idx="96">
                  <c:v>84</c:v>
                </c:pt>
                <c:pt idx="97">
                  <c:v>838</c:v>
                </c:pt>
                <c:pt idx="98">
                  <c:v>923</c:v>
                </c:pt>
                <c:pt idx="99">
                  <c:v>1125</c:v>
                </c:pt>
                <c:pt idx="100">
                  <c:v>797</c:v>
                </c:pt>
                <c:pt idx="101">
                  <c:v>1128</c:v>
                </c:pt>
                <c:pt idx="102">
                  <c:v>561</c:v>
                </c:pt>
                <c:pt idx="103">
                  <c:v>56</c:v>
                </c:pt>
                <c:pt idx="104">
                  <c:v>714</c:v>
                </c:pt>
                <c:pt idx="105">
                  <c:v>1132</c:v>
                </c:pt>
                <c:pt idx="106">
                  <c:v>1093</c:v>
                </c:pt>
                <c:pt idx="107">
                  <c:v>1037</c:v>
                </c:pt>
                <c:pt idx="108">
                  <c:v>759</c:v>
                </c:pt>
                <c:pt idx="109">
                  <c:v>410</c:v>
                </c:pt>
                <c:pt idx="110">
                  <c:v>73</c:v>
                </c:pt>
                <c:pt idx="111">
                  <c:v>577</c:v>
                </c:pt>
                <c:pt idx="112">
                  <c:v>983</c:v>
                </c:pt>
                <c:pt idx="113">
                  <c:v>805</c:v>
                </c:pt>
                <c:pt idx="114">
                  <c:v>745</c:v>
                </c:pt>
                <c:pt idx="115">
                  <c:v>575</c:v>
                </c:pt>
                <c:pt idx="116">
                  <c:v>226</c:v>
                </c:pt>
                <c:pt idx="117">
                  <c:v>59</c:v>
                </c:pt>
                <c:pt idx="118">
                  <c:v>432</c:v>
                </c:pt>
                <c:pt idx="119">
                  <c:v>824</c:v>
                </c:pt>
                <c:pt idx="120">
                  <c:v>575</c:v>
                </c:pt>
                <c:pt idx="121">
                  <c:v>509</c:v>
                </c:pt>
                <c:pt idx="122">
                  <c:v>302</c:v>
                </c:pt>
                <c:pt idx="123">
                  <c:v>60</c:v>
                </c:pt>
                <c:pt idx="124">
                  <c:v>110</c:v>
                </c:pt>
                <c:pt idx="125">
                  <c:v>114</c:v>
                </c:pt>
                <c:pt idx="126">
                  <c:v>461</c:v>
                </c:pt>
                <c:pt idx="127">
                  <c:v>658</c:v>
                </c:pt>
                <c:pt idx="128">
                  <c:v>474</c:v>
                </c:pt>
                <c:pt idx="129">
                  <c:v>397</c:v>
                </c:pt>
                <c:pt idx="130">
                  <c:v>138</c:v>
                </c:pt>
                <c:pt idx="131">
                  <c:v>27</c:v>
                </c:pt>
                <c:pt idx="132">
                  <c:v>201</c:v>
                </c:pt>
                <c:pt idx="133">
                  <c:v>490</c:v>
                </c:pt>
                <c:pt idx="134">
                  <c:v>283</c:v>
                </c:pt>
                <c:pt idx="135">
                  <c:v>331</c:v>
                </c:pt>
                <c:pt idx="136">
                  <c:v>238</c:v>
                </c:pt>
                <c:pt idx="137">
                  <c:v>82</c:v>
                </c:pt>
                <c:pt idx="138">
                  <c:v>29</c:v>
                </c:pt>
                <c:pt idx="139">
                  <c:v>269</c:v>
                </c:pt>
                <c:pt idx="140">
                  <c:v>325</c:v>
                </c:pt>
                <c:pt idx="141">
                  <c:v>296</c:v>
                </c:pt>
                <c:pt idx="142">
                  <c:v>283</c:v>
                </c:pt>
                <c:pt idx="143">
                  <c:v>248</c:v>
                </c:pt>
                <c:pt idx="144">
                  <c:v>61</c:v>
                </c:pt>
                <c:pt idx="145">
                  <c:v>15</c:v>
                </c:pt>
                <c:pt idx="146">
                  <c:v>176</c:v>
                </c:pt>
                <c:pt idx="147">
                  <c:v>349</c:v>
                </c:pt>
                <c:pt idx="148">
                  <c:v>238</c:v>
                </c:pt>
                <c:pt idx="149">
                  <c:v>231</c:v>
                </c:pt>
                <c:pt idx="150">
                  <c:v>156</c:v>
                </c:pt>
                <c:pt idx="151">
                  <c:v>96</c:v>
                </c:pt>
                <c:pt idx="152">
                  <c:v>50</c:v>
                </c:pt>
                <c:pt idx="153">
                  <c:v>155</c:v>
                </c:pt>
                <c:pt idx="154">
                  <c:v>256</c:v>
                </c:pt>
                <c:pt idx="155">
                  <c:v>176</c:v>
                </c:pt>
                <c:pt idx="156">
                  <c:v>161</c:v>
                </c:pt>
                <c:pt idx="157">
                  <c:v>155</c:v>
                </c:pt>
                <c:pt idx="158">
                  <c:v>32</c:v>
                </c:pt>
                <c:pt idx="159">
                  <c:v>6</c:v>
                </c:pt>
                <c:pt idx="160">
                  <c:v>142</c:v>
                </c:pt>
                <c:pt idx="161">
                  <c:v>172</c:v>
                </c:pt>
                <c:pt idx="162">
                  <c:v>97</c:v>
                </c:pt>
                <c:pt idx="163">
                  <c:v>101</c:v>
                </c:pt>
                <c:pt idx="164">
                  <c:v>78</c:v>
                </c:pt>
                <c:pt idx="165">
                  <c:v>38</c:v>
                </c:pt>
                <c:pt idx="166">
                  <c:v>4</c:v>
                </c:pt>
                <c:pt idx="167">
                  <c:v>96</c:v>
                </c:pt>
                <c:pt idx="168">
                  <c:v>80</c:v>
                </c:pt>
                <c:pt idx="169">
                  <c:v>66</c:v>
                </c:pt>
                <c:pt idx="170">
                  <c:v>47</c:v>
                </c:pt>
                <c:pt idx="171">
                  <c:v>67</c:v>
                </c:pt>
                <c:pt idx="172">
                  <c:v>24</c:v>
                </c:pt>
                <c:pt idx="173">
                  <c:v>6</c:v>
                </c:pt>
                <c:pt idx="174">
                  <c:v>35</c:v>
                </c:pt>
                <c:pt idx="175">
                  <c:v>67</c:v>
                </c:pt>
                <c:pt idx="176">
                  <c:v>37</c:v>
                </c:pt>
                <c:pt idx="177">
                  <c:v>47</c:v>
                </c:pt>
                <c:pt idx="178">
                  <c:v>61</c:v>
                </c:pt>
                <c:pt idx="179">
                  <c:v>9</c:v>
                </c:pt>
                <c:pt idx="18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73-4ACA-BB25-11FC715AA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73-4ACA-BB25-11FC715AA0F3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795</c:v>
                </c:pt>
                <c:pt idx="89">
                  <c:v>809</c:v>
                </c:pt>
                <c:pt idx="90">
                  <c:v>821</c:v>
                </c:pt>
                <c:pt idx="91">
                  <c:v>831</c:v>
                </c:pt>
                <c:pt idx="92">
                  <c:v>840</c:v>
                </c:pt>
                <c:pt idx="93">
                  <c:v>849</c:v>
                </c:pt>
                <c:pt idx="94">
                  <c:v>857</c:v>
                </c:pt>
                <c:pt idx="95">
                  <c:v>865</c:v>
                </c:pt>
                <c:pt idx="96">
                  <c:v>872</c:v>
                </c:pt>
                <c:pt idx="97">
                  <c:v>878</c:v>
                </c:pt>
                <c:pt idx="98">
                  <c:v>884</c:v>
                </c:pt>
                <c:pt idx="99">
                  <c:v>890</c:v>
                </c:pt>
                <c:pt idx="100">
                  <c:v>895</c:v>
                </c:pt>
                <c:pt idx="101">
                  <c:v>900</c:v>
                </c:pt>
                <c:pt idx="102">
                  <c:v>905</c:v>
                </c:pt>
                <c:pt idx="103">
                  <c:v>909</c:v>
                </c:pt>
                <c:pt idx="104">
                  <c:v>912</c:v>
                </c:pt>
                <c:pt idx="105">
                  <c:v>916</c:v>
                </c:pt>
                <c:pt idx="106">
                  <c:v>918</c:v>
                </c:pt>
                <c:pt idx="107">
                  <c:v>921</c:v>
                </c:pt>
                <c:pt idx="108">
                  <c:v>923</c:v>
                </c:pt>
                <c:pt idx="109">
                  <c:v>925</c:v>
                </c:pt>
                <c:pt idx="110">
                  <c:v>926</c:v>
                </c:pt>
                <c:pt idx="111">
                  <c:v>927</c:v>
                </c:pt>
                <c:pt idx="112">
                  <c:v>927</c:v>
                </c:pt>
                <c:pt idx="113">
                  <c:v>928</c:v>
                </c:pt>
                <c:pt idx="114">
                  <c:v>927</c:v>
                </c:pt>
                <c:pt idx="115">
                  <c:v>927</c:v>
                </c:pt>
                <c:pt idx="116">
                  <c:v>926</c:v>
                </c:pt>
                <c:pt idx="117">
                  <c:v>925</c:v>
                </c:pt>
                <c:pt idx="118">
                  <c:v>923</c:v>
                </c:pt>
                <c:pt idx="119">
                  <c:v>921</c:v>
                </c:pt>
                <c:pt idx="120">
                  <c:v>919</c:v>
                </c:pt>
                <c:pt idx="121">
                  <c:v>916</c:v>
                </c:pt>
                <c:pt idx="122">
                  <c:v>913</c:v>
                </c:pt>
                <c:pt idx="123">
                  <c:v>910</c:v>
                </c:pt>
                <c:pt idx="124">
                  <c:v>906</c:v>
                </c:pt>
                <c:pt idx="125">
                  <c:v>903</c:v>
                </c:pt>
                <c:pt idx="126">
                  <c:v>898</c:v>
                </c:pt>
                <c:pt idx="127">
                  <c:v>894</c:v>
                </c:pt>
                <c:pt idx="128">
                  <c:v>889</c:v>
                </c:pt>
                <c:pt idx="129">
                  <c:v>884</c:v>
                </c:pt>
                <c:pt idx="130">
                  <c:v>878</c:v>
                </c:pt>
                <c:pt idx="131">
                  <c:v>873</c:v>
                </c:pt>
                <c:pt idx="132">
                  <c:v>867</c:v>
                </c:pt>
                <c:pt idx="133">
                  <c:v>861</c:v>
                </c:pt>
                <c:pt idx="134">
                  <c:v>854</c:v>
                </c:pt>
                <c:pt idx="135">
                  <c:v>847</c:v>
                </c:pt>
                <c:pt idx="136">
                  <c:v>841</c:v>
                </c:pt>
                <c:pt idx="137">
                  <c:v>833</c:v>
                </c:pt>
                <c:pt idx="138">
                  <c:v>826</c:v>
                </c:pt>
                <c:pt idx="139">
                  <c:v>819</c:v>
                </c:pt>
                <c:pt idx="140">
                  <c:v>811</c:v>
                </c:pt>
                <c:pt idx="141">
                  <c:v>803</c:v>
                </c:pt>
                <c:pt idx="142">
                  <c:v>795</c:v>
                </c:pt>
                <c:pt idx="143">
                  <c:v>786</c:v>
                </c:pt>
                <c:pt idx="144">
                  <c:v>778</c:v>
                </c:pt>
                <c:pt idx="145">
                  <c:v>769</c:v>
                </c:pt>
                <c:pt idx="146">
                  <c:v>761</c:v>
                </c:pt>
                <c:pt idx="147">
                  <c:v>752</c:v>
                </c:pt>
                <c:pt idx="148">
                  <c:v>743</c:v>
                </c:pt>
                <c:pt idx="149">
                  <c:v>734</c:v>
                </c:pt>
                <c:pt idx="150">
                  <c:v>725</c:v>
                </c:pt>
                <c:pt idx="151">
                  <c:v>715</c:v>
                </c:pt>
                <c:pt idx="152">
                  <c:v>706</c:v>
                </c:pt>
                <c:pt idx="153">
                  <c:v>697</c:v>
                </c:pt>
                <c:pt idx="154">
                  <c:v>687</c:v>
                </c:pt>
                <c:pt idx="155">
                  <c:v>678</c:v>
                </c:pt>
                <c:pt idx="156">
                  <c:v>668</c:v>
                </c:pt>
                <c:pt idx="157">
                  <c:v>658</c:v>
                </c:pt>
                <c:pt idx="158">
                  <c:v>649</c:v>
                </c:pt>
                <c:pt idx="159">
                  <c:v>639</c:v>
                </c:pt>
                <c:pt idx="160">
                  <c:v>629</c:v>
                </c:pt>
                <c:pt idx="161">
                  <c:v>620</c:v>
                </c:pt>
                <c:pt idx="162">
                  <c:v>610</c:v>
                </c:pt>
                <c:pt idx="163">
                  <c:v>600</c:v>
                </c:pt>
                <c:pt idx="164">
                  <c:v>591</c:v>
                </c:pt>
                <c:pt idx="165">
                  <c:v>581</c:v>
                </c:pt>
                <c:pt idx="166">
                  <c:v>571</c:v>
                </c:pt>
                <c:pt idx="167">
                  <c:v>562</c:v>
                </c:pt>
                <c:pt idx="168">
                  <c:v>552</c:v>
                </c:pt>
                <c:pt idx="169">
                  <c:v>543</c:v>
                </c:pt>
                <c:pt idx="170">
                  <c:v>533</c:v>
                </c:pt>
                <c:pt idx="171">
                  <c:v>524</c:v>
                </c:pt>
                <c:pt idx="172">
                  <c:v>514</c:v>
                </c:pt>
                <c:pt idx="173">
                  <c:v>505</c:v>
                </c:pt>
                <c:pt idx="174">
                  <c:v>496</c:v>
                </c:pt>
                <c:pt idx="175">
                  <c:v>487</c:v>
                </c:pt>
                <c:pt idx="176">
                  <c:v>478</c:v>
                </c:pt>
                <c:pt idx="177">
                  <c:v>469</c:v>
                </c:pt>
                <c:pt idx="178">
                  <c:v>460</c:v>
                </c:pt>
                <c:pt idx="179">
                  <c:v>451</c:v>
                </c:pt>
                <c:pt idx="180">
                  <c:v>442</c:v>
                </c:pt>
                <c:pt idx="181">
                  <c:v>4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D73-4ACA-BB25-11FC715AA0F3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787</c:v>
                </c:pt>
                <c:pt idx="89">
                  <c:v>789</c:v>
                </c:pt>
                <c:pt idx="90">
                  <c:v>786</c:v>
                </c:pt>
                <c:pt idx="91">
                  <c:v>780</c:v>
                </c:pt>
                <c:pt idx="92">
                  <c:v>774</c:v>
                </c:pt>
                <c:pt idx="93">
                  <c:v>766</c:v>
                </c:pt>
                <c:pt idx="94">
                  <c:v>757</c:v>
                </c:pt>
                <c:pt idx="95">
                  <c:v>748</c:v>
                </c:pt>
                <c:pt idx="96">
                  <c:v>738</c:v>
                </c:pt>
                <c:pt idx="97">
                  <c:v>729</c:v>
                </c:pt>
                <c:pt idx="98">
                  <c:v>718</c:v>
                </c:pt>
                <c:pt idx="99">
                  <c:v>708</c:v>
                </c:pt>
                <c:pt idx="100">
                  <c:v>697</c:v>
                </c:pt>
                <c:pt idx="101">
                  <c:v>687</c:v>
                </c:pt>
                <c:pt idx="102">
                  <c:v>676</c:v>
                </c:pt>
                <c:pt idx="103">
                  <c:v>665</c:v>
                </c:pt>
                <c:pt idx="104">
                  <c:v>653</c:v>
                </c:pt>
                <c:pt idx="105">
                  <c:v>642</c:v>
                </c:pt>
                <c:pt idx="106">
                  <c:v>631</c:v>
                </c:pt>
                <c:pt idx="107">
                  <c:v>620</c:v>
                </c:pt>
                <c:pt idx="108">
                  <c:v>609</c:v>
                </c:pt>
                <c:pt idx="109">
                  <c:v>598</c:v>
                </c:pt>
                <c:pt idx="110">
                  <c:v>587</c:v>
                </c:pt>
                <c:pt idx="111">
                  <c:v>576</c:v>
                </c:pt>
                <c:pt idx="112">
                  <c:v>565</c:v>
                </c:pt>
                <c:pt idx="113">
                  <c:v>554</c:v>
                </c:pt>
                <c:pt idx="114">
                  <c:v>543</c:v>
                </c:pt>
                <c:pt idx="115">
                  <c:v>532</c:v>
                </c:pt>
                <c:pt idx="116">
                  <c:v>522</c:v>
                </c:pt>
                <c:pt idx="117">
                  <c:v>511</c:v>
                </c:pt>
                <c:pt idx="118">
                  <c:v>501</c:v>
                </c:pt>
                <c:pt idx="119">
                  <c:v>490</c:v>
                </c:pt>
                <c:pt idx="120">
                  <c:v>480</c:v>
                </c:pt>
                <c:pt idx="121">
                  <c:v>470</c:v>
                </c:pt>
                <c:pt idx="122">
                  <c:v>460</c:v>
                </c:pt>
                <c:pt idx="123">
                  <c:v>451</c:v>
                </c:pt>
                <c:pt idx="124">
                  <c:v>441</c:v>
                </c:pt>
                <c:pt idx="125">
                  <c:v>431</c:v>
                </c:pt>
                <c:pt idx="126">
                  <c:v>422</c:v>
                </c:pt>
                <c:pt idx="127">
                  <c:v>413</c:v>
                </c:pt>
                <c:pt idx="128">
                  <c:v>404</c:v>
                </c:pt>
                <c:pt idx="129">
                  <c:v>395</c:v>
                </c:pt>
                <c:pt idx="130">
                  <c:v>386</c:v>
                </c:pt>
                <c:pt idx="131">
                  <c:v>378</c:v>
                </c:pt>
                <c:pt idx="132">
                  <c:v>369</c:v>
                </c:pt>
                <c:pt idx="133">
                  <c:v>361</c:v>
                </c:pt>
                <c:pt idx="134">
                  <c:v>353</c:v>
                </c:pt>
                <c:pt idx="135">
                  <c:v>345</c:v>
                </c:pt>
                <c:pt idx="136">
                  <c:v>337</c:v>
                </c:pt>
                <c:pt idx="137">
                  <c:v>329</c:v>
                </c:pt>
                <c:pt idx="138">
                  <c:v>321</c:v>
                </c:pt>
                <c:pt idx="139">
                  <c:v>314</c:v>
                </c:pt>
                <c:pt idx="140">
                  <c:v>307</c:v>
                </c:pt>
                <c:pt idx="141">
                  <c:v>299</c:v>
                </c:pt>
                <c:pt idx="142">
                  <c:v>292</c:v>
                </c:pt>
                <c:pt idx="143">
                  <c:v>285</c:v>
                </c:pt>
                <c:pt idx="144">
                  <c:v>279</c:v>
                </c:pt>
                <c:pt idx="145">
                  <c:v>272</c:v>
                </c:pt>
                <c:pt idx="146">
                  <c:v>266</c:v>
                </c:pt>
                <c:pt idx="147">
                  <c:v>259</c:v>
                </c:pt>
                <c:pt idx="148">
                  <c:v>253</c:v>
                </c:pt>
                <c:pt idx="149">
                  <c:v>247</c:v>
                </c:pt>
                <c:pt idx="150">
                  <c:v>241</c:v>
                </c:pt>
                <c:pt idx="151">
                  <c:v>235</c:v>
                </c:pt>
                <c:pt idx="152">
                  <c:v>229</c:v>
                </c:pt>
                <c:pt idx="153">
                  <c:v>224</c:v>
                </c:pt>
                <c:pt idx="154">
                  <c:v>218</c:v>
                </c:pt>
                <c:pt idx="155">
                  <c:v>213</c:v>
                </c:pt>
                <c:pt idx="156">
                  <c:v>208</c:v>
                </c:pt>
                <c:pt idx="157">
                  <c:v>203</c:v>
                </c:pt>
                <c:pt idx="158">
                  <c:v>198</c:v>
                </c:pt>
                <c:pt idx="159">
                  <c:v>193</c:v>
                </c:pt>
                <c:pt idx="160">
                  <c:v>188</c:v>
                </c:pt>
                <c:pt idx="161">
                  <c:v>183</c:v>
                </c:pt>
                <c:pt idx="162">
                  <c:v>179</c:v>
                </c:pt>
                <c:pt idx="163">
                  <c:v>174</c:v>
                </c:pt>
                <c:pt idx="164">
                  <c:v>170</c:v>
                </c:pt>
                <c:pt idx="165">
                  <c:v>165</c:v>
                </c:pt>
                <c:pt idx="166">
                  <c:v>161</c:v>
                </c:pt>
                <c:pt idx="167">
                  <c:v>157</c:v>
                </c:pt>
                <c:pt idx="168">
                  <c:v>153</c:v>
                </c:pt>
                <c:pt idx="169">
                  <c:v>149</c:v>
                </c:pt>
                <c:pt idx="170">
                  <c:v>146</c:v>
                </c:pt>
                <c:pt idx="171">
                  <c:v>142</c:v>
                </c:pt>
                <c:pt idx="172">
                  <c:v>138</c:v>
                </c:pt>
                <c:pt idx="173">
                  <c:v>135</c:v>
                </c:pt>
                <c:pt idx="174">
                  <c:v>131</c:v>
                </c:pt>
                <c:pt idx="175">
                  <c:v>128</c:v>
                </c:pt>
                <c:pt idx="176">
                  <c:v>125</c:v>
                </c:pt>
                <c:pt idx="177">
                  <c:v>121</c:v>
                </c:pt>
                <c:pt idx="178">
                  <c:v>118</c:v>
                </c:pt>
                <c:pt idx="179">
                  <c:v>115</c:v>
                </c:pt>
                <c:pt idx="180">
                  <c:v>112</c:v>
                </c:pt>
                <c:pt idx="181">
                  <c:v>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D73-4ACA-BB25-11FC715AA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56</c:v>
                </c:pt>
                <c:pt idx="1">
                  <c:v>255</c:v>
                </c:pt>
                <c:pt idx="2">
                  <c:v>255</c:v>
                </c:pt>
                <c:pt idx="3">
                  <c:v>270</c:v>
                </c:pt>
                <c:pt idx="4">
                  <c:v>158</c:v>
                </c:pt>
                <c:pt idx="5">
                  <c:v>21</c:v>
                </c:pt>
                <c:pt idx="6">
                  <c:v>175</c:v>
                </c:pt>
                <c:pt idx="7">
                  <c:v>312</c:v>
                </c:pt>
                <c:pt idx="8">
                  <c:v>371</c:v>
                </c:pt>
                <c:pt idx="9">
                  <c:v>260</c:v>
                </c:pt>
                <c:pt idx="10">
                  <c:v>290</c:v>
                </c:pt>
                <c:pt idx="11">
                  <c:v>208</c:v>
                </c:pt>
                <c:pt idx="12">
                  <c:v>20</c:v>
                </c:pt>
                <c:pt idx="13">
                  <c:v>195</c:v>
                </c:pt>
                <c:pt idx="14">
                  <c:v>347</c:v>
                </c:pt>
                <c:pt idx="15">
                  <c:v>456</c:v>
                </c:pt>
                <c:pt idx="16">
                  <c:v>261</c:v>
                </c:pt>
                <c:pt idx="17">
                  <c:v>399</c:v>
                </c:pt>
                <c:pt idx="18">
                  <c:v>204</c:v>
                </c:pt>
                <c:pt idx="19">
                  <c:v>41</c:v>
                </c:pt>
                <c:pt idx="20">
                  <c:v>321</c:v>
                </c:pt>
                <c:pt idx="21">
                  <c:v>594</c:v>
                </c:pt>
                <c:pt idx="22">
                  <c:v>725</c:v>
                </c:pt>
                <c:pt idx="23">
                  <c:v>230</c:v>
                </c:pt>
                <c:pt idx="24">
                  <c:v>124</c:v>
                </c:pt>
                <c:pt idx="25">
                  <c:v>95</c:v>
                </c:pt>
                <c:pt idx="26">
                  <c:v>119</c:v>
                </c:pt>
                <c:pt idx="27">
                  <c:v>499</c:v>
                </c:pt>
                <c:pt idx="28">
                  <c:v>900</c:v>
                </c:pt>
                <c:pt idx="29">
                  <c:v>868</c:v>
                </c:pt>
                <c:pt idx="30">
                  <c:v>634</c:v>
                </c:pt>
                <c:pt idx="31">
                  <c:v>68</c:v>
                </c:pt>
                <c:pt idx="32">
                  <c:v>138</c:v>
                </c:pt>
                <c:pt idx="33">
                  <c:v>101</c:v>
                </c:pt>
                <c:pt idx="34">
                  <c:v>594</c:v>
                </c:pt>
                <c:pt idx="35">
                  <c:v>1004</c:v>
                </c:pt>
                <c:pt idx="36">
                  <c:v>799</c:v>
                </c:pt>
                <c:pt idx="37">
                  <c:v>919</c:v>
                </c:pt>
                <c:pt idx="38">
                  <c:v>814</c:v>
                </c:pt>
                <c:pt idx="39">
                  <c:v>302</c:v>
                </c:pt>
                <c:pt idx="40">
                  <c:v>45</c:v>
                </c:pt>
                <c:pt idx="41">
                  <c:v>403</c:v>
                </c:pt>
                <c:pt idx="42">
                  <c:v>658</c:v>
                </c:pt>
                <c:pt idx="43">
                  <c:v>621</c:v>
                </c:pt>
                <c:pt idx="44">
                  <c:v>476</c:v>
                </c:pt>
                <c:pt idx="45">
                  <c:v>640</c:v>
                </c:pt>
                <c:pt idx="46">
                  <c:v>206</c:v>
                </c:pt>
                <c:pt idx="47">
                  <c:v>19</c:v>
                </c:pt>
                <c:pt idx="48">
                  <c:v>347</c:v>
                </c:pt>
                <c:pt idx="49">
                  <c:v>520</c:v>
                </c:pt>
                <c:pt idx="50">
                  <c:v>413</c:v>
                </c:pt>
                <c:pt idx="51">
                  <c:v>493</c:v>
                </c:pt>
                <c:pt idx="52">
                  <c:v>467</c:v>
                </c:pt>
                <c:pt idx="53">
                  <c:v>137</c:v>
                </c:pt>
                <c:pt idx="54">
                  <c:v>46</c:v>
                </c:pt>
                <c:pt idx="55">
                  <c:v>302</c:v>
                </c:pt>
                <c:pt idx="56">
                  <c:v>533</c:v>
                </c:pt>
                <c:pt idx="57">
                  <c:v>466</c:v>
                </c:pt>
                <c:pt idx="58">
                  <c:v>422</c:v>
                </c:pt>
                <c:pt idx="59">
                  <c:v>423</c:v>
                </c:pt>
                <c:pt idx="60">
                  <c:v>124</c:v>
                </c:pt>
                <c:pt idx="61">
                  <c:v>82</c:v>
                </c:pt>
                <c:pt idx="62">
                  <c:v>369</c:v>
                </c:pt>
                <c:pt idx="63">
                  <c:v>472</c:v>
                </c:pt>
                <c:pt idx="64">
                  <c:v>458</c:v>
                </c:pt>
                <c:pt idx="65">
                  <c:v>467</c:v>
                </c:pt>
                <c:pt idx="66">
                  <c:v>450</c:v>
                </c:pt>
                <c:pt idx="67">
                  <c:v>119</c:v>
                </c:pt>
                <c:pt idx="68">
                  <c:v>69</c:v>
                </c:pt>
                <c:pt idx="69">
                  <c:v>341</c:v>
                </c:pt>
                <c:pt idx="70">
                  <c:v>453</c:v>
                </c:pt>
                <c:pt idx="71">
                  <c:v>475</c:v>
                </c:pt>
                <c:pt idx="72">
                  <c:v>607</c:v>
                </c:pt>
                <c:pt idx="73">
                  <c:v>407</c:v>
                </c:pt>
                <c:pt idx="74">
                  <c:v>156</c:v>
                </c:pt>
                <c:pt idx="75">
                  <c:v>58</c:v>
                </c:pt>
                <c:pt idx="76">
                  <c:v>391</c:v>
                </c:pt>
                <c:pt idx="77">
                  <c:v>734</c:v>
                </c:pt>
                <c:pt idx="78">
                  <c:v>547</c:v>
                </c:pt>
                <c:pt idx="79">
                  <c:v>533</c:v>
                </c:pt>
                <c:pt idx="80">
                  <c:v>641</c:v>
                </c:pt>
                <c:pt idx="81">
                  <c:v>120</c:v>
                </c:pt>
                <c:pt idx="82">
                  <c:v>188</c:v>
                </c:pt>
                <c:pt idx="83">
                  <c:v>515</c:v>
                </c:pt>
                <c:pt idx="84">
                  <c:v>702</c:v>
                </c:pt>
                <c:pt idx="85">
                  <c:v>696</c:v>
                </c:pt>
                <c:pt idx="86">
                  <c:v>938</c:v>
                </c:pt>
                <c:pt idx="87">
                  <c:v>833</c:v>
                </c:pt>
                <c:pt idx="88">
                  <c:v>414</c:v>
                </c:pt>
                <c:pt idx="89">
                  <c:v>75</c:v>
                </c:pt>
                <c:pt idx="90">
                  <c:v>585</c:v>
                </c:pt>
                <c:pt idx="91">
                  <c:v>988</c:v>
                </c:pt>
                <c:pt idx="92">
                  <c:v>1085</c:v>
                </c:pt>
                <c:pt idx="93">
                  <c:v>1021</c:v>
                </c:pt>
                <c:pt idx="94">
                  <c:v>1007</c:v>
                </c:pt>
                <c:pt idx="95">
                  <c:v>547</c:v>
                </c:pt>
                <c:pt idx="96">
                  <c:v>84</c:v>
                </c:pt>
                <c:pt idx="97">
                  <c:v>838</c:v>
                </c:pt>
                <c:pt idx="98">
                  <c:v>923</c:v>
                </c:pt>
                <c:pt idx="99">
                  <c:v>1125</c:v>
                </c:pt>
                <c:pt idx="100">
                  <c:v>797</c:v>
                </c:pt>
                <c:pt idx="101">
                  <c:v>1128</c:v>
                </c:pt>
                <c:pt idx="102">
                  <c:v>561</c:v>
                </c:pt>
                <c:pt idx="103">
                  <c:v>56</c:v>
                </c:pt>
                <c:pt idx="104">
                  <c:v>714</c:v>
                </c:pt>
                <c:pt idx="105">
                  <c:v>1132</c:v>
                </c:pt>
                <c:pt idx="106">
                  <c:v>1093</c:v>
                </c:pt>
                <c:pt idx="107">
                  <c:v>1037</c:v>
                </c:pt>
                <c:pt idx="108">
                  <c:v>759</c:v>
                </c:pt>
                <c:pt idx="109">
                  <c:v>410</c:v>
                </c:pt>
                <c:pt idx="110">
                  <c:v>73</c:v>
                </c:pt>
                <c:pt idx="111">
                  <c:v>577</c:v>
                </c:pt>
                <c:pt idx="112">
                  <c:v>983</c:v>
                </c:pt>
                <c:pt idx="113">
                  <c:v>805</c:v>
                </c:pt>
                <c:pt idx="114">
                  <c:v>745</c:v>
                </c:pt>
                <c:pt idx="115">
                  <c:v>575</c:v>
                </c:pt>
                <c:pt idx="116">
                  <c:v>226</c:v>
                </c:pt>
                <c:pt idx="117">
                  <c:v>59</c:v>
                </c:pt>
                <c:pt idx="118">
                  <c:v>432</c:v>
                </c:pt>
                <c:pt idx="119">
                  <c:v>824</c:v>
                </c:pt>
                <c:pt idx="120">
                  <c:v>575</c:v>
                </c:pt>
                <c:pt idx="121">
                  <c:v>509</c:v>
                </c:pt>
                <c:pt idx="122">
                  <c:v>302</c:v>
                </c:pt>
                <c:pt idx="123">
                  <c:v>60</c:v>
                </c:pt>
                <c:pt idx="124">
                  <c:v>110</c:v>
                </c:pt>
                <c:pt idx="125">
                  <c:v>114</c:v>
                </c:pt>
                <c:pt idx="126">
                  <c:v>461</c:v>
                </c:pt>
                <c:pt idx="127">
                  <c:v>658</c:v>
                </c:pt>
                <c:pt idx="128">
                  <c:v>474</c:v>
                </c:pt>
                <c:pt idx="129">
                  <c:v>397</c:v>
                </c:pt>
                <c:pt idx="130">
                  <c:v>138</c:v>
                </c:pt>
                <c:pt idx="131">
                  <c:v>27</c:v>
                </c:pt>
                <c:pt idx="132">
                  <c:v>201</c:v>
                </c:pt>
                <c:pt idx="133">
                  <c:v>490</c:v>
                </c:pt>
                <c:pt idx="134">
                  <c:v>283</c:v>
                </c:pt>
                <c:pt idx="135">
                  <c:v>331</c:v>
                </c:pt>
                <c:pt idx="136">
                  <c:v>238</c:v>
                </c:pt>
                <c:pt idx="137">
                  <c:v>82</c:v>
                </c:pt>
                <c:pt idx="138">
                  <c:v>29</c:v>
                </c:pt>
                <c:pt idx="139">
                  <c:v>269</c:v>
                </c:pt>
                <c:pt idx="140">
                  <c:v>325</c:v>
                </c:pt>
                <c:pt idx="141">
                  <c:v>296</c:v>
                </c:pt>
                <c:pt idx="142">
                  <c:v>283</c:v>
                </c:pt>
                <c:pt idx="143">
                  <c:v>248</c:v>
                </c:pt>
                <c:pt idx="144">
                  <c:v>61</c:v>
                </c:pt>
                <c:pt idx="145">
                  <c:v>15</c:v>
                </c:pt>
                <c:pt idx="146">
                  <c:v>176</c:v>
                </c:pt>
                <c:pt idx="147">
                  <c:v>349</c:v>
                </c:pt>
                <c:pt idx="148">
                  <c:v>238</c:v>
                </c:pt>
                <c:pt idx="149">
                  <c:v>231</c:v>
                </c:pt>
                <c:pt idx="150">
                  <c:v>156</c:v>
                </c:pt>
                <c:pt idx="151">
                  <c:v>96</c:v>
                </c:pt>
                <c:pt idx="152">
                  <c:v>50</c:v>
                </c:pt>
                <c:pt idx="153">
                  <c:v>155</c:v>
                </c:pt>
                <c:pt idx="154">
                  <c:v>256</c:v>
                </c:pt>
                <c:pt idx="155">
                  <c:v>176</c:v>
                </c:pt>
                <c:pt idx="156">
                  <c:v>161</c:v>
                </c:pt>
                <c:pt idx="157">
                  <c:v>155</c:v>
                </c:pt>
                <c:pt idx="158">
                  <c:v>32</c:v>
                </c:pt>
                <c:pt idx="159">
                  <c:v>6</c:v>
                </c:pt>
                <c:pt idx="160">
                  <c:v>142</c:v>
                </c:pt>
                <c:pt idx="161">
                  <c:v>172</c:v>
                </c:pt>
                <c:pt idx="162">
                  <c:v>97</c:v>
                </c:pt>
                <c:pt idx="163">
                  <c:v>101</c:v>
                </c:pt>
                <c:pt idx="164">
                  <c:v>78</c:v>
                </c:pt>
                <c:pt idx="165">
                  <c:v>38</c:v>
                </c:pt>
                <c:pt idx="166">
                  <c:v>4</c:v>
                </c:pt>
                <c:pt idx="167">
                  <c:v>96</c:v>
                </c:pt>
                <c:pt idx="168">
                  <c:v>80</c:v>
                </c:pt>
                <c:pt idx="169">
                  <c:v>66</c:v>
                </c:pt>
                <c:pt idx="170">
                  <c:v>47</c:v>
                </c:pt>
                <c:pt idx="171">
                  <c:v>67</c:v>
                </c:pt>
                <c:pt idx="172">
                  <c:v>24</c:v>
                </c:pt>
                <c:pt idx="173">
                  <c:v>6</c:v>
                </c:pt>
                <c:pt idx="174">
                  <c:v>35</c:v>
                </c:pt>
                <c:pt idx="175">
                  <c:v>67</c:v>
                </c:pt>
                <c:pt idx="176">
                  <c:v>37</c:v>
                </c:pt>
                <c:pt idx="177">
                  <c:v>47</c:v>
                </c:pt>
                <c:pt idx="178">
                  <c:v>61</c:v>
                </c:pt>
                <c:pt idx="179">
                  <c:v>9</c:v>
                </c:pt>
                <c:pt idx="18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718</c:v>
                </c:pt>
                <c:pt idx="89">
                  <c:v>718</c:v>
                </c:pt>
                <c:pt idx="90">
                  <c:v>714</c:v>
                </c:pt>
                <c:pt idx="91">
                  <c:v>707</c:v>
                </c:pt>
                <c:pt idx="92">
                  <c:v>699</c:v>
                </c:pt>
                <c:pt idx="93">
                  <c:v>690</c:v>
                </c:pt>
                <c:pt idx="94">
                  <c:v>680</c:v>
                </c:pt>
                <c:pt idx="95">
                  <c:v>670</c:v>
                </c:pt>
                <c:pt idx="96">
                  <c:v>659</c:v>
                </c:pt>
                <c:pt idx="97">
                  <c:v>649</c:v>
                </c:pt>
                <c:pt idx="98">
                  <c:v>638</c:v>
                </c:pt>
                <c:pt idx="99">
                  <c:v>626</c:v>
                </c:pt>
                <c:pt idx="100">
                  <c:v>615</c:v>
                </c:pt>
                <c:pt idx="101">
                  <c:v>603</c:v>
                </c:pt>
                <c:pt idx="102">
                  <c:v>591</c:v>
                </c:pt>
                <c:pt idx="103">
                  <c:v>579</c:v>
                </c:pt>
                <c:pt idx="104">
                  <c:v>567</c:v>
                </c:pt>
                <c:pt idx="105">
                  <c:v>555</c:v>
                </c:pt>
                <c:pt idx="106">
                  <c:v>543</c:v>
                </c:pt>
                <c:pt idx="107">
                  <c:v>531</c:v>
                </c:pt>
                <c:pt idx="108">
                  <c:v>519</c:v>
                </c:pt>
                <c:pt idx="109">
                  <c:v>507</c:v>
                </c:pt>
                <c:pt idx="110">
                  <c:v>494</c:v>
                </c:pt>
                <c:pt idx="111">
                  <c:v>482</c:v>
                </c:pt>
                <c:pt idx="112">
                  <c:v>471</c:v>
                </c:pt>
                <c:pt idx="113">
                  <c:v>459</c:v>
                </c:pt>
                <c:pt idx="114">
                  <c:v>447</c:v>
                </c:pt>
                <c:pt idx="115">
                  <c:v>436</c:v>
                </c:pt>
                <c:pt idx="116">
                  <c:v>424</c:v>
                </c:pt>
                <c:pt idx="117">
                  <c:v>413</c:v>
                </c:pt>
                <c:pt idx="118">
                  <c:v>402</c:v>
                </c:pt>
                <c:pt idx="119">
                  <c:v>391</c:v>
                </c:pt>
                <c:pt idx="120">
                  <c:v>380</c:v>
                </c:pt>
                <c:pt idx="121">
                  <c:v>370</c:v>
                </c:pt>
                <c:pt idx="122">
                  <c:v>360</c:v>
                </c:pt>
                <c:pt idx="123">
                  <c:v>350</c:v>
                </c:pt>
                <c:pt idx="124">
                  <c:v>340</c:v>
                </c:pt>
                <c:pt idx="125">
                  <c:v>331</c:v>
                </c:pt>
                <c:pt idx="126">
                  <c:v>321</c:v>
                </c:pt>
                <c:pt idx="127">
                  <c:v>312</c:v>
                </c:pt>
                <c:pt idx="128">
                  <c:v>303</c:v>
                </c:pt>
                <c:pt idx="129">
                  <c:v>295</c:v>
                </c:pt>
                <c:pt idx="130">
                  <c:v>286</c:v>
                </c:pt>
                <c:pt idx="131">
                  <c:v>278</c:v>
                </c:pt>
                <c:pt idx="132">
                  <c:v>269</c:v>
                </c:pt>
                <c:pt idx="133">
                  <c:v>261</c:v>
                </c:pt>
                <c:pt idx="134">
                  <c:v>253</c:v>
                </c:pt>
                <c:pt idx="135">
                  <c:v>246</c:v>
                </c:pt>
                <c:pt idx="136">
                  <c:v>238</c:v>
                </c:pt>
                <c:pt idx="137">
                  <c:v>231</c:v>
                </c:pt>
                <c:pt idx="138">
                  <c:v>223</c:v>
                </c:pt>
                <c:pt idx="139">
                  <c:v>216</c:v>
                </c:pt>
                <c:pt idx="140">
                  <c:v>209</c:v>
                </c:pt>
                <c:pt idx="141">
                  <c:v>203</c:v>
                </c:pt>
                <c:pt idx="142">
                  <c:v>196</c:v>
                </c:pt>
                <c:pt idx="143">
                  <c:v>190</c:v>
                </c:pt>
                <c:pt idx="144">
                  <c:v>183</c:v>
                </c:pt>
                <c:pt idx="145">
                  <c:v>177</c:v>
                </c:pt>
                <c:pt idx="146">
                  <c:v>171</c:v>
                </c:pt>
                <c:pt idx="147">
                  <c:v>166</c:v>
                </c:pt>
                <c:pt idx="148">
                  <c:v>160</c:v>
                </c:pt>
                <c:pt idx="149">
                  <c:v>155</c:v>
                </c:pt>
                <c:pt idx="150">
                  <c:v>150</c:v>
                </c:pt>
                <c:pt idx="151">
                  <c:v>144</c:v>
                </c:pt>
                <c:pt idx="152">
                  <c:v>139</c:v>
                </c:pt>
                <c:pt idx="153">
                  <c:v>135</c:v>
                </c:pt>
                <c:pt idx="154">
                  <c:v>130</c:v>
                </c:pt>
                <c:pt idx="155">
                  <c:v>126</c:v>
                </c:pt>
                <c:pt idx="156">
                  <c:v>121</c:v>
                </c:pt>
                <c:pt idx="157">
                  <c:v>117</c:v>
                </c:pt>
                <c:pt idx="158">
                  <c:v>113</c:v>
                </c:pt>
                <c:pt idx="159">
                  <c:v>109</c:v>
                </c:pt>
                <c:pt idx="160">
                  <c:v>105</c:v>
                </c:pt>
                <c:pt idx="161">
                  <c:v>101</c:v>
                </c:pt>
                <c:pt idx="162">
                  <c:v>97</c:v>
                </c:pt>
                <c:pt idx="163">
                  <c:v>93</c:v>
                </c:pt>
                <c:pt idx="164">
                  <c:v>89</c:v>
                </c:pt>
                <c:pt idx="165">
                  <c:v>85</c:v>
                </c:pt>
                <c:pt idx="166">
                  <c:v>81</c:v>
                </c:pt>
                <c:pt idx="167">
                  <c:v>77</c:v>
                </c:pt>
                <c:pt idx="168">
                  <c:v>73</c:v>
                </c:pt>
                <c:pt idx="169">
                  <c:v>70</c:v>
                </c:pt>
                <c:pt idx="170">
                  <c:v>66</c:v>
                </c:pt>
                <c:pt idx="171">
                  <c:v>63</c:v>
                </c:pt>
                <c:pt idx="172">
                  <c:v>60</c:v>
                </c:pt>
                <c:pt idx="173">
                  <c:v>56</c:v>
                </c:pt>
                <c:pt idx="174">
                  <c:v>53</c:v>
                </c:pt>
                <c:pt idx="175">
                  <c:v>51</c:v>
                </c:pt>
                <c:pt idx="176">
                  <c:v>48</c:v>
                </c:pt>
                <c:pt idx="177">
                  <c:v>45</c:v>
                </c:pt>
                <c:pt idx="178">
                  <c:v>43</c:v>
                </c:pt>
                <c:pt idx="179">
                  <c:v>41</c:v>
                </c:pt>
                <c:pt idx="180">
                  <c:v>38</c:v>
                </c:pt>
                <c:pt idx="181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787</c:v>
                </c:pt>
                <c:pt idx="89">
                  <c:v>789</c:v>
                </c:pt>
                <c:pt idx="90">
                  <c:v>786</c:v>
                </c:pt>
                <c:pt idx="91">
                  <c:v>780</c:v>
                </c:pt>
                <c:pt idx="92">
                  <c:v>774</c:v>
                </c:pt>
                <c:pt idx="93">
                  <c:v>766</c:v>
                </c:pt>
                <c:pt idx="94">
                  <c:v>757</c:v>
                </c:pt>
                <c:pt idx="95">
                  <c:v>748</c:v>
                </c:pt>
                <c:pt idx="96">
                  <c:v>738</c:v>
                </c:pt>
                <c:pt idx="97">
                  <c:v>729</c:v>
                </c:pt>
                <c:pt idx="98">
                  <c:v>718</c:v>
                </c:pt>
                <c:pt idx="99">
                  <c:v>708</c:v>
                </c:pt>
                <c:pt idx="100">
                  <c:v>697</c:v>
                </c:pt>
                <c:pt idx="101">
                  <c:v>687</c:v>
                </c:pt>
                <c:pt idx="102">
                  <c:v>676</c:v>
                </c:pt>
                <c:pt idx="103">
                  <c:v>665</c:v>
                </c:pt>
                <c:pt idx="104">
                  <c:v>653</c:v>
                </c:pt>
                <c:pt idx="105">
                  <c:v>642</c:v>
                </c:pt>
                <c:pt idx="106">
                  <c:v>631</c:v>
                </c:pt>
                <c:pt idx="107">
                  <c:v>620</c:v>
                </c:pt>
                <c:pt idx="108">
                  <c:v>609</c:v>
                </c:pt>
                <c:pt idx="109">
                  <c:v>598</c:v>
                </c:pt>
                <c:pt idx="110">
                  <c:v>587</c:v>
                </c:pt>
                <c:pt idx="111">
                  <c:v>576</c:v>
                </c:pt>
                <c:pt idx="112">
                  <c:v>565</c:v>
                </c:pt>
                <c:pt idx="113">
                  <c:v>554</c:v>
                </c:pt>
                <c:pt idx="114">
                  <c:v>543</c:v>
                </c:pt>
                <c:pt idx="115">
                  <c:v>532</c:v>
                </c:pt>
                <c:pt idx="116">
                  <c:v>522</c:v>
                </c:pt>
                <c:pt idx="117">
                  <c:v>511</c:v>
                </c:pt>
                <c:pt idx="118">
                  <c:v>501</c:v>
                </c:pt>
                <c:pt idx="119">
                  <c:v>490</c:v>
                </c:pt>
                <c:pt idx="120">
                  <c:v>480</c:v>
                </c:pt>
                <c:pt idx="121">
                  <c:v>470</c:v>
                </c:pt>
                <c:pt idx="122">
                  <c:v>460</c:v>
                </c:pt>
                <c:pt idx="123">
                  <c:v>451</c:v>
                </c:pt>
                <c:pt idx="124">
                  <c:v>441</c:v>
                </c:pt>
                <c:pt idx="125">
                  <c:v>431</c:v>
                </c:pt>
                <c:pt idx="126">
                  <c:v>422</c:v>
                </c:pt>
                <c:pt idx="127">
                  <c:v>413</c:v>
                </c:pt>
                <c:pt idx="128">
                  <c:v>404</c:v>
                </c:pt>
                <c:pt idx="129">
                  <c:v>395</c:v>
                </c:pt>
                <c:pt idx="130">
                  <c:v>386</c:v>
                </c:pt>
                <c:pt idx="131">
                  <c:v>378</c:v>
                </c:pt>
                <c:pt idx="132">
                  <c:v>369</c:v>
                </c:pt>
                <c:pt idx="133">
                  <c:v>361</c:v>
                </c:pt>
                <c:pt idx="134">
                  <c:v>353</c:v>
                </c:pt>
                <c:pt idx="135">
                  <c:v>345</c:v>
                </c:pt>
                <c:pt idx="136">
                  <c:v>337</c:v>
                </c:pt>
                <c:pt idx="137">
                  <c:v>329</c:v>
                </c:pt>
                <c:pt idx="138">
                  <c:v>321</c:v>
                </c:pt>
                <c:pt idx="139">
                  <c:v>314</c:v>
                </c:pt>
                <c:pt idx="140">
                  <c:v>307</c:v>
                </c:pt>
                <c:pt idx="141">
                  <c:v>299</c:v>
                </c:pt>
                <c:pt idx="142">
                  <c:v>292</c:v>
                </c:pt>
                <c:pt idx="143">
                  <c:v>285</c:v>
                </c:pt>
                <c:pt idx="144">
                  <c:v>279</c:v>
                </c:pt>
                <c:pt idx="145">
                  <c:v>272</c:v>
                </c:pt>
                <c:pt idx="146">
                  <c:v>266</c:v>
                </c:pt>
                <c:pt idx="147">
                  <c:v>259</c:v>
                </c:pt>
                <c:pt idx="148">
                  <c:v>253</c:v>
                </c:pt>
                <c:pt idx="149">
                  <c:v>247</c:v>
                </c:pt>
                <c:pt idx="150">
                  <c:v>241</c:v>
                </c:pt>
                <c:pt idx="151">
                  <c:v>235</c:v>
                </c:pt>
                <c:pt idx="152">
                  <c:v>229</c:v>
                </c:pt>
                <c:pt idx="153">
                  <c:v>224</c:v>
                </c:pt>
                <c:pt idx="154">
                  <c:v>218</c:v>
                </c:pt>
                <c:pt idx="155">
                  <c:v>213</c:v>
                </c:pt>
                <c:pt idx="156">
                  <c:v>208</c:v>
                </c:pt>
                <c:pt idx="157">
                  <c:v>203</c:v>
                </c:pt>
                <c:pt idx="158">
                  <c:v>198</c:v>
                </c:pt>
                <c:pt idx="159">
                  <c:v>193</c:v>
                </c:pt>
                <c:pt idx="160">
                  <c:v>188</c:v>
                </c:pt>
                <c:pt idx="161">
                  <c:v>183</c:v>
                </c:pt>
                <c:pt idx="162">
                  <c:v>179</c:v>
                </c:pt>
                <c:pt idx="163">
                  <c:v>174</c:v>
                </c:pt>
                <c:pt idx="164">
                  <c:v>170</c:v>
                </c:pt>
                <c:pt idx="165">
                  <c:v>165</c:v>
                </c:pt>
                <c:pt idx="166">
                  <c:v>161</c:v>
                </c:pt>
                <c:pt idx="167">
                  <c:v>157</c:v>
                </c:pt>
                <c:pt idx="168">
                  <c:v>153</c:v>
                </c:pt>
                <c:pt idx="169">
                  <c:v>149</c:v>
                </c:pt>
                <c:pt idx="170">
                  <c:v>146</c:v>
                </c:pt>
                <c:pt idx="171">
                  <c:v>142</c:v>
                </c:pt>
                <c:pt idx="172">
                  <c:v>138</c:v>
                </c:pt>
                <c:pt idx="173">
                  <c:v>135</c:v>
                </c:pt>
                <c:pt idx="174">
                  <c:v>131</c:v>
                </c:pt>
                <c:pt idx="175">
                  <c:v>128</c:v>
                </c:pt>
                <c:pt idx="176">
                  <c:v>125</c:v>
                </c:pt>
                <c:pt idx="177">
                  <c:v>121</c:v>
                </c:pt>
                <c:pt idx="178">
                  <c:v>118</c:v>
                </c:pt>
                <c:pt idx="179">
                  <c:v>115</c:v>
                </c:pt>
                <c:pt idx="180">
                  <c:v>112</c:v>
                </c:pt>
                <c:pt idx="181">
                  <c:v>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6</c:v>
                </c:pt>
                <c:pt idx="1">
                  <c:v>255</c:v>
                </c:pt>
                <c:pt idx="2">
                  <c:v>255</c:v>
                </c:pt>
                <c:pt idx="3">
                  <c:v>270</c:v>
                </c:pt>
                <c:pt idx="4">
                  <c:v>158</c:v>
                </c:pt>
                <c:pt idx="5">
                  <c:v>21</c:v>
                </c:pt>
                <c:pt idx="6">
                  <c:v>175</c:v>
                </c:pt>
                <c:pt idx="7">
                  <c:v>312</c:v>
                </c:pt>
                <c:pt idx="8">
                  <c:v>371</c:v>
                </c:pt>
                <c:pt idx="9">
                  <c:v>260</c:v>
                </c:pt>
                <c:pt idx="10">
                  <c:v>290</c:v>
                </c:pt>
                <c:pt idx="11">
                  <c:v>208</c:v>
                </c:pt>
                <c:pt idx="12">
                  <c:v>20</c:v>
                </c:pt>
                <c:pt idx="13">
                  <c:v>195</c:v>
                </c:pt>
                <c:pt idx="14">
                  <c:v>347</c:v>
                </c:pt>
                <c:pt idx="15">
                  <c:v>456</c:v>
                </c:pt>
                <c:pt idx="16">
                  <c:v>261</c:v>
                </c:pt>
                <c:pt idx="17">
                  <c:v>399</c:v>
                </c:pt>
                <c:pt idx="18">
                  <c:v>204</c:v>
                </c:pt>
                <c:pt idx="19">
                  <c:v>41</c:v>
                </c:pt>
                <c:pt idx="20">
                  <c:v>321</c:v>
                </c:pt>
                <c:pt idx="21">
                  <c:v>594</c:v>
                </c:pt>
                <c:pt idx="22">
                  <c:v>725</c:v>
                </c:pt>
                <c:pt idx="23">
                  <c:v>230</c:v>
                </c:pt>
                <c:pt idx="24">
                  <c:v>124</c:v>
                </c:pt>
                <c:pt idx="25">
                  <c:v>95</c:v>
                </c:pt>
                <c:pt idx="26">
                  <c:v>119</c:v>
                </c:pt>
                <c:pt idx="27">
                  <c:v>499</c:v>
                </c:pt>
                <c:pt idx="28">
                  <c:v>900</c:v>
                </c:pt>
                <c:pt idx="29">
                  <c:v>868</c:v>
                </c:pt>
                <c:pt idx="30">
                  <c:v>634</c:v>
                </c:pt>
                <c:pt idx="31">
                  <c:v>68</c:v>
                </c:pt>
                <c:pt idx="32">
                  <c:v>138</c:v>
                </c:pt>
                <c:pt idx="33">
                  <c:v>101</c:v>
                </c:pt>
                <c:pt idx="34">
                  <c:v>594</c:v>
                </c:pt>
                <c:pt idx="35">
                  <c:v>1004</c:v>
                </c:pt>
                <c:pt idx="36">
                  <c:v>799</c:v>
                </c:pt>
                <c:pt idx="37">
                  <c:v>919</c:v>
                </c:pt>
                <c:pt idx="38">
                  <c:v>814</c:v>
                </c:pt>
                <c:pt idx="39">
                  <c:v>302</c:v>
                </c:pt>
                <c:pt idx="40">
                  <c:v>45</c:v>
                </c:pt>
                <c:pt idx="41">
                  <c:v>403</c:v>
                </c:pt>
                <c:pt idx="42">
                  <c:v>658</c:v>
                </c:pt>
                <c:pt idx="43">
                  <c:v>621</c:v>
                </c:pt>
                <c:pt idx="44">
                  <c:v>476</c:v>
                </c:pt>
                <c:pt idx="45">
                  <c:v>640</c:v>
                </c:pt>
                <c:pt idx="46">
                  <c:v>206</c:v>
                </c:pt>
                <c:pt idx="47">
                  <c:v>19</c:v>
                </c:pt>
                <c:pt idx="48">
                  <c:v>347</c:v>
                </c:pt>
                <c:pt idx="49">
                  <c:v>520</c:v>
                </c:pt>
                <c:pt idx="50">
                  <c:v>413</c:v>
                </c:pt>
                <c:pt idx="51">
                  <c:v>493</c:v>
                </c:pt>
                <c:pt idx="52">
                  <c:v>467</c:v>
                </c:pt>
                <c:pt idx="53">
                  <c:v>137</c:v>
                </c:pt>
                <c:pt idx="54">
                  <c:v>46</c:v>
                </c:pt>
                <c:pt idx="55">
                  <c:v>302</c:v>
                </c:pt>
                <c:pt idx="56">
                  <c:v>533</c:v>
                </c:pt>
                <c:pt idx="57">
                  <c:v>466</c:v>
                </c:pt>
                <c:pt idx="58">
                  <c:v>422</c:v>
                </c:pt>
                <c:pt idx="59">
                  <c:v>423</c:v>
                </c:pt>
                <c:pt idx="60">
                  <c:v>124</c:v>
                </c:pt>
                <c:pt idx="61">
                  <c:v>82</c:v>
                </c:pt>
                <c:pt idx="62">
                  <c:v>369</c:v>
                </c:pt>
                <c:pt idx="63">
                  <c:v>472</c:v>
                </c:pt>
                <c:pt idx="64">
                  <c:v>458</c:v>
                </c:pt>
                <c:pt idx="65">
                  <c:v>467</c:v>
                </c:pt>
                <c:pt idx="66">
                  <c:v>450</c:v>
                </c:pt>
                <c:pt idx="67">
                  <c:v>119</c:v>
                </c:pt>
                <c:pt idx="68">
                  <c:v>69</c:v>
                </c:pt>
                <c:pt idx="69">
                  <c:v>341</c:v>
                </c:pt>
                <c:pt idx="70">
                  <c:v>453</c:v>
                </c:pt>
                <c:pt idx="71">
                  <c:v>475</c:v>
                </c:pt>
                <c:pt idx="72">
                  <c:v>607</c:v>
                </c:pt>
                <c:pt idx="73">
                  <c:v>407</c:v>
                </c:pt>
                <c:pt idx="74">
                  <c:v>156</c:v>
                </c:pt>
                <c:pt idx="75">
                  <c:v>58</c:v>
                </c:pt>
                <c:pt idx="76">
                  <c:v>391</c:v>
                </c:pt>
                <c:pt idx="77">
                  <c:v>734</c:v>
                </c:pt>
                <c:pt idx="78">
                  <c:v>547</c:v>
                </c:pt>
                <c:pt idx="79">
                  <c:v>533</c:v>
                </c:pt>
                <c:pt idx="80">
                  <c:v>641</c:v>
                </c:pt>
                <c:pt idx="81">
                  <c:v>120</c:v>
                </c:pt>
                <c:pt idx="82">
                  <c:v>188</c:v>
                </c:pt>
                <c:pt idx="83">
                  <c:v>515</c:v>
                </c:pt>
                <c:pt idx="84">
                  <c:v>702</c:v>
                </c:pt>
                <c:pt idx="85">
                  <c:v>696</c:v>
                </c:pt>
                <c:pt idx="86">
                  <c:v>938</c:v>
                </c:pt>
                <c:pt idx="87">
                  <c:v>833</c:v>
                </c:pt>
                <c:pt idx="88">
                  <c:v>414</c:v>
                </c:pt>
                <c:pt idx="89">
                  <c:v>75</c:v>
                </c:pt>
                <c:pt idx="90">
                  <c:v>585</c:v>
                </c:pt>
                <c:pt idx="91">
                  <c:v>988</c:v>
                </c:pt>
                <c:pt idx="92">
                  <c:v>1085</c:v>
                </c:pt>
                <c:pt idx="93">
                  <c:v>1021</c:v>
                </c:pt>
                <c:pt idx="94">
                  <c:v>1007</c:v>
                </c:pt>
                <c:pt idx="95">
                  <c:v>547</c:v>
                </c:pt>
                <c:pt idx="96">
                  <c:v>84</c:v>
                </c:pt>
                <c:pt idx="97">
                  <c:v>838</c:v>
                </c:pt>
                <c:pt idx="98">
                  <c:v>923</c:v>
                </c:pt>
                <c:pt idx="99">
                  <c:v>1125</c:v>
                </c:pt>
                <c:pt idx="100">
                  <c:v>797</c:v>
                </c:pt>
                <c:pt idx="101">
                  <c:v>1128</c:v>
                </c:pt>
                <c:pt idx="102">
                  <c:v>561</c:v>
                </c:pt>
                <c:pt idx="103">
                  <c:v>56</c:v>
                </c:pt>
                <c:pt idx="104">
                  <c:v>714</c:v>
                </c:pt>
                <c:pt idx="105">
                  <c:v>1132</c:v>
                </c:pt>
                <c:pt idx="106">
                  <c:v>1093</c:v>
                </c:pt>
                <c:pt idx="107">
                  <c:v>1037</c:v>
                </c:pt>
                <c:pt idx="108">
                  <c:v>759</c:v>
                </c:pt>
                <c:pt idx="109">
                  <c:v>410</c:v>
                </c:pt>
                <c:pt idx="110">
                  <c:v>73</c:v>
                </c:pt>
                <c:pt idx="111">
                  <c:v>577</c:v>
                </c:pt>
                <c:pt idx="112">
                  <c:v>983</c:v>
                </c:pt>
                <c:pt idx="113">
                  <c:v>805</c:v>
                </c:pt>
                <c:pt idx="114">
                  <c:v>745</c:v>
                </c:pt>
                <c:pt idx="115">
                  <c:v>575</c:v>
                </c:pt>
                <c:pt idx="116">
                  <c:v>226</c:v>
                </c:pt>
                <c:pt idx="117">
                  <c:v>59</c:v>
                </c:pt>
                <c:pt idx="118">
                  <c:v>432</c:v>
                </c:pt>
                <c:pt idx="119">
                  <c:v>824</c:v>
                </c:pt>
                <c:pt idx="120">
                  <c:v>575</c:v>
                </c:pt>
                <c:pt idx="121">
                  <c:v>509</c:v>
                </c:pt>
                <c:pt idx="122">
                  <c:v>302</c:v>
                </c:pt>
                <c:pt idx="123">
                  <c:v>60</c:v>
                </c:pt>
                <c:pt idx="124">
                  <c:v>110</c:v>
                </c:pt>
                <c:pt idx="125">
                  <c:v>114</c:v>
                </c:pt>
                <c:pt idx="126">
                  <c:v>461</c:v>
                </c:pt>
                <c:pt idx="127">
                  <c:v>658</c:v>
                </c:pt>
                <c:pt idx="128">
                  <c:v>474</c:v>
                </c:pt>
                <c:pt idx="129">
                  <c:v>397</c:v>
                </c:pt>
                <c:pt idx="130">
                  <c:v>138</c:v>
                </c:pt>
                <c:pt idx="131">
                  <c:v>27</c:v>
                </c:pt>
                <c:pt idx="132">
                  <c:v>201</c:v>
                </c:pt>
                <c:pt idx="133">
                  <c:v>490</c:v>
                </c:pt>
                <c:pt idx="134">
                  <c:v>283</c:v>
                </c:pt>
                <c:pt idx="135">
                  <c:v>331</c:v>
                </c:pt>
                <c:pt idx="136">
                  <c:v>238</c:v>
                </c:pt>
                <c:pt idx="137">
                  <c:v>82</c:v>
                </c:pt>
                <c:pt idx="138">
                  <c:v>29</c:v>
                </c:pt>
                <c:pt idx="139">
                  <c:v>269</c:v>
                </c:pt>
                <c:pt idx="140">
                  <c:v>325</c:v>
                </c:pt>
                <c:pt idx="141">
                  <c:v>296</c:v>
                </c:pt>
                <c:pt idx="142">
                  <c:v>283</c:v>
                </c:pt>
                <c:pt idx="143">
                  <c:v>248</c:v>
                </c:pt>
                <c:pt idx="144">
                  <c:v>61</c:v>
                </c:pt>
                <c:pt idx="145">
                  <c:v>15</c:v>
                </c:pt>
                <c:pt idx="146">
                  <c:v>176</c:v>
                </c:pt>
                <c:pt idx="147">
                  <c:v>349</c:v>
                </c:pt>
                <c:pt idx="148">
                  <c:v>238</c:v>
                </c:pt>
                <c:pt idx="149">
                  <c:v>231</c:v>
                </c:pt>
                <c:pt idx="150">
                  <c:v>156</c:v>
                </c:pt>
                <c:pt idx="151">
                  <c:v>96</c:v>
                </c:pt>
                <c:pt idx="152">
                  <c:v>50</c:v>
                </c:pt>
                <c:pt idx="153">
                  <c:v>155</c:v>
                </c:pt>
                <c:pt idx="154">
                  <c:v>256</c:v>
                </c:pt>
                <c:pt idx="155">
                  <c:v>176</c:v>
                </c:pt>
                <c:pt idx="156">
                  <c:v>161</c:v>
                </c:pt>
                <c:pt idx="157">
                  <c:v>155</c:v>
                </c:pt>
                <c:pt idx="158">
                  <c:v>32</c:v>
                </c:pt>
                <c:pt idx="159">
                  <c:v>6</c:v>
                </c:pt>
                <c:pt idx="160">
                  <c:v>142</c:v>
                </c:pt>
                <c:pt idx="161">
                  <c:v>172</c:v>
                </c:pt>
                <c:pt idx="162">
                  <c:v>97</c:v>
                </c:pt>
                <c:pt idx="163">
                  <c:v>101</c:v>
                </c:pt>
                <c:pt idx="164">
                  <c:v>78</c:v>
                </c:pt>
                <c:pt idx="165">
                  <c:v>38</c:v>
                </c:pt>
                <c:pt idx="166">
                  <c:v>4</c:v>
                </c:pt>
                <c:pt idx="167">
                  <c:v>96</c:v>
                </c:pt>
                <c:pt idx="168">
                  <c:v>80</c:v>
                </c:pt>
                <c:pt idx="169">
                  <c:v>66</c:v>
                </c:pt>
                <c:pt idx="170">
                  <c:v>47</c:v>
                </c:pt>
                <c:pt idx="171">
                  <c:v>67</c:v>
                </c:pt>
                <c:pt idx="172">
                  <c:v>24</c:v>
                </c:pt>
                <c:pt idx="173">
                  <c:v>6</c:v>
                </c:pt>
                <c:pt idx="174">
                  <c:v>35</c:v>
                </c:pt>
                <c:pt idx="175">
                  <c:v>67</c:v>
                </c:pt>
                <c:pt idx="176">
                  <c:v>37</c:v>
                </c:pt>
                <c:pt idx="177">
                  <c:v>47</c:v>
                </c:pt>
                <c:pt idx="178">
                  <c:v>61</c:v>
                </c:pt>
                <c:pt idx="179">
                  <c:v>9</c:v>
                </c:pt>
                <c:pt idx="18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F-43FD-AAA0-384EC62930E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17</c:v>
                </c:pt>
                <c:pt idx="169">
                  <c:v>112</c:v>
                </c:pt>
                <c:pt idx="170">
                  <c:v>107</c:v>
                </c:pt>
                <c:pt idx="171">
                  <c:v>102</c:v>
                </c:pt>
                <c:pt idx="172">
                  <c:v>98</c:v>
                </c:pt>
                <c:pt idx="173">
                  <c:v>93</c:v>
                </c:pt>
                <c:pt idx="174">
                  <c:v>89</c:v>
                </c:pt>
                <c:pt idx="175">
                  <c:v>84</c:v>
                </c:pt>
                <c:pt idx="176">
                  <c:v>80</c:v>
                </c:pt>
                <c:pt idx="177">
                  <c:v>76</c:v>
                </c:pt>
                <c:pt idx="178">
                  <c:v>72</c:v>
                </c:pt>
                <c:pt idx="179">
                  <c:v>68</c:v>
                </c:pt>
                <c:pt idx="180">
                  <c:v>64</c:v>
                </c:pt>
                <c:pt idx="181">
                  <c:v>60</c:v>
                </c:pt>
                <c:pt idx="182">
                  <c:v>57</c:v>
                </c:pt>
                <c:pt idx="183">
                  <c:v>54</c:v>
                </c:pt>
                <c:pt idx="184">
                  <c:v>51</c:v>
                </c:pt>
                <c:pt idx="185">
                  <c:v>48</c:v>
                </c:pt>
                <c:pt idx="186">
                  <c:v>45</c:v>
                </c:pt>
                <c:pt idx="187">
                  <c:v>42</c:v>
                </c:pt>
                <c:pt idx="188">
                  <c:v>40</c:v>
                </c:pt>
                <c:pt idx="189">
                  <c:v>38</c:v>
                </c:pt>
                <c:pt idx="190">
                  <c:v>35</c:v>
                </c:pt>
                <c:pt idx="191">
                  <c:v>33</c:v>
                </c:pt>
                <c:pt idx="192">
                  <c:v>31</c:v>
                </c:pt>
                <c:pt idx="193">
                  <c:v>30</c:v>
                </c:pt>
                <c:pt idx="194">
                  <c:v>28</c:v>
                </c:pt>
                <c:pt idx="195">
                  <c:v>26</c:v>
                </c:pt>
                <c:pt idx="196">
                  <c:v>25</c:v>
                </c:pt>
                <c:pt idx="197">
                  <c:v>23</c:v>
                </c:pt>
                <c:pt idx="198">
                  <c:v>22</c:v>
                </c:pt>
                <c:pt idx="199">
                  <c:v>20</c:v>
                </c:pt>
                <c:pt idx="200">
                  <c:v>19</c:v>
                </c:pt>
                <c:pt idx="201">
                  <c:v>18</c:v>
                </c:pt>
                <c:pt idx="202">
                  <c:v>17</c:v>
                </c:pt>
                <c:pt idx="203">
                  <c:v>16</c:v>
                </c:pt>
                <c:pt idx="204">
                  <c:v>15</c:v>
                </c:pt>
                <c:pt idx="205">
                  <c:v>14</c:v>
                </c:pt>
                <c:pt idx="206">
                  <c:v>13</c:v>
                </c:pt>
                <c:pt idx="207">
                  <c:v>12</c:v>
                </c:pt>
                <c:pt idx="208">
                  <c:v>11</c:v>
                </c:pt>
                <c:pt idx="209">
                  <c:v>10</c:v>
                </c:pt>
                <c:pt idx="210">
                  <c:v>9</c:v>
                </c:pt>
                <c:pt idx="211">
                  <c:v>9</c:v>
                </c:pt>
                <c:pt idx="212">
                  <c:v>8</c:v>
                </c:pt>
                <c:pt idx="213">
                  <c:v>7</c:v>
                </c:pt>
                <c:pt idx="214">
                  <c:v>7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F-43FD-AAA0-384EC62930E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20</c:v>
                </c:pt>
                <c:pt idx="169">
                  <c:v>119</c:v>
                </c:pt>
                <c:pt idx="170">
                  <c:v>118</c:v>
                </c:pt>
                <c:pt idx="171">
                  <c:v>118</c:v>
                </c:pt>
                <c:pt idx="172">
                  <c:v>118</c:v>
                </c:pt>
                <c:pt idx="173">
                  <c:v>117</c:v>
                </c:pt>
                <c:pt idx="174">
                  <c:v>117</c:v>
                </c:pt>
                <c:pt idx="175">
                  <c:v>118</c:v>
                </c:pt>
                <c:pt idx="176">
                  <c:v>121</c:v>
                </c:pt>
                <c:pt idx="177">
                  <c:v>124</c:v>
                </c:pt>
                <c:pt idx="178">
                  <c:v>127</c:v>
                </c:pt>
                <c:pt idx="179">
                  <c:v>130</c:v>
                </c:pt>
                <c:pt idx="180">
                  <c:v>133</c:v>
                </c:pt>
                <c:pt idx="181">
                  <c:v>137</c:v>
                </c:pt>
                <c:pt idx="182">
                  <c:v>140</c:v>
                </c:pt>
                <c:pt idx="183">
                  <c:v>143</c:v>
                </c:pt>
                <c:pt idx="184">
                  <c:v>147</c:v>
                </c:pt>
                <c:pt idx="185">
                  <c:v>150</c:v>
                </c:pt>
                <c:pt idx="186">
                  <c:v>153</c:v>
                </c:pt>
                <c:pt idx="187">
                  <c:v>157</c:v>
                </c:pt>
                <c:pt idx="188">
                  <c:v>160</c:v>
                </c:pt>
                <c:pt idx="189">
                  <c:v>164</c:v>
                </c:pt>
                <c:pt idx="190">
                  <c:v>168</c:v>
                </c:pt>
                <c:pt idx="191">
                  <c:v>172</c:v>
                </c:pt>
                <c:pt idx="192">
                  <c:v>176</c:v>
                </c:pt>
                <c:pt idx="193">
                  <c:v>179</c:v>
                </c:pt>
                <c:pt idx="194">
                  <c:v>183</c:v>
                </c:pt>
                <c:pt idx="195">
                  <c:v>186</c:v>
                </c:pt>
                <c:pt idx="196">
                  <c:v>190</c:v>
                </c:pt>
                <c:pt idx="197">
                  <c:v>193</c:v>
                </c:pt>
                <c:pt idx="198">
                  <c:v>196</c:v>
                </c:pt>
                <c:pt idx="199">
                  <c:v>198</c:v>
                </c:pt>
                <c:pt idx="200">
                  <c:v>201</c:v>
                </c:pt>
                <c:pt idx="201">
                  <c:v>203</c:v>
                </c:pt>
                <c:pt idx="202">
                  <c:v>205</c:v>
                </c:pt>
                <c:pt idx="203">
                  <c:v>207</c:v>
                </c:pt>
                <c:pt idx="204">
                  <c:v>208</c:v>
                </c:pt>
                <c:pt idx="205">
                  <c:v>209</c:v>
                </c:pt>
                <c:pt idx="206">
                  <c:v>210</c:v>
                </c:pt>
                <c:pt idx="207">
                  <c:v>210</c:v>
                </c:pt>
                <c:pt idx="208">
                  <c:v>211</c:v>
                </c:pt>
                <c:pt idx="209">
                  <c:v>210</c:v>
                </c:pt>
                <c:pt idx="210">
                  <c:v>210</c:v>
                </c:pt>
                <c:pt idx="211">
                  <c:v>209</c:v>
                </c:pt>
                <c:pt idx="212">
                  <c:v>208</c:v>
                </c:pt>
                <c:pt idx="213">
                  <c:v>206</c:v>
                </c:pt>
                <c:pt idx="214">
                  <c:v>205</c:v>
                </c:pt>
                <c:pt idx="215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F-43FD-AAA0-384EC62930E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F-43FD-AAA0-384EC62930E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39</c:v>
                </c:pt>
                <c:pt idx="1">
                  <c:v>267</c:v>
                </c:pt>
                <c:pt idx="2">
                  <c:v>238</c:v>
                </c:pt>
                <c:pt idx="3">
                  <c:v>243</c:v>
                </c:pt>
                <c:pt idx="4">
                  <c:v>114</c:v>
                </c:pt>
                <c:pt idx="5">
                  <c:v>60</c:v>
                </c:pt>
                <c:pt idx="6">
                  <c:v>258</c:v>
                </c:pt>
                <c:pt idx="7">
                  <c:v>210</c:v>
                </c:pt>
                <c:pt idx="8">
                  <c:v>261</c:v>
                </c:pt>
                <c:pt idx="9">
                  <c:v>268</c:v>
                </c:pt>
                <c:pt idx="10">
                  <c:v>279</c:v>
                </c:pt>
                <c:pt idx="11">
                  <c:v>206</c:v>
                </c:pt>
                <c:pt idx="12">
                  <c:v>49</c:v>
                </c:pt>
                <c:pt idx="13">
                  <c:v>335</c:v>
                </c:pt>
                <c:pt idx="14">
                  <c:v>378</c:v>
                </c:pt>
                <c:pt idx="15">
                  <c:v>375</c:v>
                </c:pt>
                <c:pt idx="16">
                  <c:v>455</c:v>
                </c:pt>
                <c:pt idx="17">
                  <c:v>456</c:v>
                </c:pt>
                <c:pt idx="18">
                  <c:v>267</c:v>
                </c:pt>
                <c:pt idx="19">
                  <c:v>77</c:v>
                </c:pt>
                <c:pt idx="20">
                  <c:v>502</c:v>
                </c:pt>
                <c:pt idx="21">
                  <c:v>523</c:v>
                </c:pt>
                <c:pt idx="22">
                  <c:v>683</c:v>
                </c:pt>
                <c:pt idx="23">
                  <c:v>119</c:v>
                </c:pt>
                <c:pt idx="24">
                  <c:v>246</c:v>
                </c:pt>
                <c:pt idx="25">
                  <c:v>179</c:v>
                </c:pt>
                <c:pt idx="26">
                  <c:v>161</c:v>
                </c:pt>
                <c:pt idx="27">
                  <c:v>559</c:v>
                </c:pt>
                <c:pt idx="28">
                  <c:v>637</c:v>
                </c:pt>
                <c:pt idx="29">
                  <c:v>684</c:v>
                </c:pt>
                <c:pt idx="30">
                  <c:v>611</c:v>
                </c:pt>
                <c:pt idx="31">
                  <c:v>118</c:v>
                </c:pt>
                <c:pt idx="32">
                  <c:v>277</c:v>
                </c:pt>
                <c:pt idx="33">
                  <c:v>156</c:v>
                </c:pt>
                <c:pt idx="34">
                  <c:v>555</c:v>
                </c:pt>
                <c:pt idx="35">
                  <c:v>664</c:v>
                </c:pt>
                <c:pt idx="36">
                  <c:v>798</c:v>
                </c:pt>
                <c:pt idx="37">
                  <c:v>614</c:v>
                </c:pt>
                <c:pt idx="38">
                  <c:v>646</c:v>
                </c:pt>
                <c:pt idx="39">
                  <c:v>257</c:v>
                </c:pt>
                <c:pt idx="40">
                  <c:v>131</c:v>
                </c:pt>
                <c:pt idx="41">
                  <c:v>544</c:v>
                </c:pt>
                <c:pt idx="42">
                  <c:v>556</c:v>
                </c:pt>
                <c:pt idx="43">
                  <c:v>512</c:v>
                </c:pt>
                <c:pt idx="44">
                  <c:v>320</c:v>
                </c:pt>
                <c:pt idx="45">
                  <c:v>550</c:v>
                </c:pt>
                <c:pt idx="46">
                  <c:v>148</c:v>
                </c:pt>
                <c:pt idx="47">
                  <c:v>113</c:v>
                </c:pt>
                <c:pt idx="48">
                  <c:v>446</c:v>
                </c:pt>
                <c:pt idx="49">
                  <c:v>572</c:v>
                </c:pt>
                <c:pt idx="50">
                  <c:v>486</c:v>
                </c:pt>
                <c:pt idx="51">
                  <c:v>458</c:v>
                </c:pt>
                <c:pt idx="52">
                  <c:v>574</c:v>
                </c:pt>
                <c:pt idx="53">
                  <c:v>166</c:v>
                </c:pt>
                <c:pt idx="54">
                  <c:v>71</c:v>
                </c:pt>
                <c:pt idx="55">
                  <c:v>405</c:v>
                </c:pt>
                <c:pt idx="56">
                  <c:v>470</c:v>
                </c:pt>
                <c:pt idx="57">
                  <c:v>640</c:v>
                </c:pt>
                <c:pt idx="58">
                  <c:v>517</c:v>
                </c:pt>
                <c:pt idx="59">
                  <c:v>658</c:v>
                </c:pt>
                <c:pt idx="60">
                  <c:v>126</c:v>
                </c:pt>
                <c:pt idx="61">
                  <c:v>127</c:v>
                </c:pt>
                <c:pt idx="62">
                  <c:v>512</c:v>
                </c:pt>
                <c:pt idx="63">
                  <c:v>651</c:v>
                </c:pt>
                <c:pt idx="64">
                  <c:v>770</c:v>
                </c:pt>
                <c:pt idx="65">
                  <c:v>772</c:v>
                </c:pt>
                <c:pt idx="66">
                  <c:v>750</c:v>
                </c:pt>
                <c:pt idx="67">
                  <c:v>210</c:v>
                </c:pt>
                <c:pt idx="68">
                  <c:v>94</c:v>
                </c:pt>
                <c:pt idx="69">
                  <c:v>620</c:v>
                </c:pt>
                <c:pt idx="70">
                  <c:v>852</c:v>
                </c:pt>
                <c:pt idx="71">
                  <c:v>689</c:v>
                </c:pt>
                <c:pt idx="72">
                  <c:v>801</c:v>
                </c:pt>
                <c:pt idx="73">
                  <c:v>847</c:v>
                </c:pt>
                <c:pt idx="74">
                  <c:v>311</c:v>
                </c:pt>
                <c:pt idx="75">
                  <c:v>153</c:v>
                </c:pt>
                <c:pt idx="76">
                  <c:v>791</c:v>
                </c:pt>
                <c:pt idx="77">
                  <c:v>1122</c:v>
                </c:pt>
                <c:pt idx="78">
                  <c:v>1039</c:v>
                </c:pt>
                <c:pt idx="79">
                  <c:v>1102</c:v>
                </c:pt>
                <c:pt idx="80">
                  <c:v>1186</c:v>
                </c:pt>
                <c:pt idx="81">
                  <c:v>476</c:v>
                </c:pt>
                <c:pt idx="82">
                  <c:v>261</c:v>
                </c:pt>
                <c:pt idx="83">
                  <c:v>980</c:v>
                </c:pt>
                <c:pt idx="84">
                  <c:v>1545</c:v>
                </c:pt>
                <c:pt idx="85">
                  <c:v>1446</c:v>
                </c:pt>
                <c:pt idx="86">
                  <c:v>1286</c:v>
                </c:pt>
                <c:pt idx="87">
                  <c:v>1520</c:v>
                </c:pt>
                <c:pt idx="88">
                  <c:v>496</c:v>
                </c:pt>
                <c:pt idx="89">
                  <c:v>208</c:v>
                </c:pt>
                <c:pt idx="90">
                  <c:v>1008</c:v>
                </c:pt>
                <c:pt idx="91">
                  <c:v>1594</c:v>
                </c:pt>
                <c:pt idx="92">
                  <c:v>1269</c:v>
                </c:pt>
                <c:pt idx="93">
                  <c:v>1170</c:v>
                </c:pt>
                <c:pt idx="94">
                  <c:v>1248</c:v>
                </c:pt>
                <c:pt idx="95">
                  <c:v>445</c:v>
                </c:pt>
                <c:pt idx="96">
                  <c:v>174</c:v>
                </c:pt>
                <c:pt idx="97">
                  <c:v>797</c:v>
                </c:pt>
                <c:pt idx="98">
                  <c:v>1363</c:v>
                </c:pt>
                <c:pt idx="99">
                  <c:v>1231</c:v>
                </c:pt>
                <c:pt idx="100">
                  <c:v>825</c:v>
                </c:pt>
                <c:pt idx="101">
                  <c:v>1067</c:v>
                </c:pt>
                <c:pt idx="102">
                  <c:v>245</c:v>
                </c:pt>
                <c:pt idx="103">
                  <c:v>316</c:v>
                </c:pt>
                <c:pt idx="104">
                  <c:v>672</c:v>
                </c:pt>
                <c:pt idx="105">
                  <c:v>1070</c:v>
                </c:pt>
                <c:pt idx="106">
                  <c:v>800</c:v>
                </c:pt>
                <c:pt idx="107">
                  <c:v>679</c:v>
                </c:pt>
                <c:pt idx="108">
                  <c:v>636</c:v>
                </c:pt>
                <c:pt idx="109">
                  <c:v>198</c:v>
                </c:pt>
                <c:pt idx="110">
                  <c:v>153</c:v>
                </c:pt>
                <c:pt idx="111">
                  <c:v>479</c:v>
                </c:pt>
                <c:pt idx="112">
                  <c:v>545</c:v>
                </c:pt>
                <c:pt idx="113">
                  <c:v>565</c:v>
                </c:pt>
                <c:pt idx="114">
                  <c:v>375</c:v>
                </c:pt>
                <c:pt idx="115">
                  <c:v>477</c:v>
                </c:pt>
                <c:pt idx="116">
                  <c:v>120</c:v>
                </c:pt>
                <c:pt idx="117">
                  <c:v>84</c:v>
                </c:pt>
                <c:pt idx="118">
                  <c:v>346</c:v>
                </c:pt>
                <c:pt idx="119">
                  <c:v>389</c:v>
                </c:pt>
                <c:pt idx="120">
                  <c:v>359</c:v>
                </c:pt>
                <c:pt idx="121">
                  <c:v>319</c:v>
                </c:pt>
                <c:pt idx="122">
                  <c:v>161</c:v>
                </c:pt>
                <c:pt idx="123">
                  <c:v>47</c:v>
                </c:pt>
                <c:pt idx="124">
                  <c:v>74</c:v>
                </c:pt>
                <c:pt idx="125">
                  <c:v>32</c:v>
                </c:pt>
                <c:pt idx="126">
                  <c:v>260</c:v>
                </c:pt>
                <c:pt idx="127">
                  <c:v>276</c:v>
                </c:pt>
                <c:pt idx="128">
                  <c:v>206</c:v>
                </c:pt>
                <c:pt idx="129">
                  <c:v>193</c:v>
                </c:pt>
                <c:pt idx="130">
                  <c:v>58</c:v>
                </c:pt>
                <c:pt idx="131">
                  <c:v>35</c:v>
                </c:pt>
                <c:pt idx="132">
                  <c:v>185</c:v>
                </c:pt>
                <c:pt idx="133">
                  <c:v>156</c:v>
                </c:pt>
                <c:pt idx="134">
                  <c:v>92</c:v>
                </c:pt>
                <c:pt idx="135">
                  <c:v>100</c:v>
                </c:pt>
                <c:pt idx="136">
                  <c:v>129</c:v>
                </c:pt>
                <c:pt idx="137">
                  <c:v>40</c:v>
                </c:pt>
                <c:pt idx="138">
                  <c:v>21</c:v>
                </c:pt>
                <c:pt idx="139">
                  <c:v>133</c:v>
                </c:pt>
                <c:pt idx="140">
                  <c:v>128</c:v>
                </c:pt>
                <c:pt idx="141">
                  <c:v>106</c:v>
                </c:pt>
                <c:pt idx="142">
                  <c:v>81</c:v>
                </c:pt>
                <c:pt idx="143">
                  <c:v>93</c:v>
                </c:pt>
                <c:pt idx="144">
                  <c:v>48</c:v>
                </c:pt>
                <c:pt idx="145">
                  <c:v>20</c:v>
                </c:pt>
                <c:pt idx="146">
                  <c:v>125</c:v>
                </c:pt>
                <c:pt idx="147">
                  <c:v>109</c:v>
                </c:pt>
                <c:pt idx="148">
                  <c:v>106</c:v>
                </c:pt>
                <c:pt idx="149">
                  <c:v>65</c:v>
                </c:pt>
                <c:pt idx="150">
                  <c:v>74</c:v>
                </c:pt>
                <c:pt idx="151">
                  <c:v>34</c:v>
                </c:pt>
                <c:pt idx="152">
                  <c:v>12</c:v>
                </c:pt>
                <c:pt idx="153">
                  <c:v>54</c:v>
                </c:pt>
                <c:pt idx="154">
                  <c:v>101</c:v>
                </c:pt>
                <c:pt idx="155">
                  <c:v>65</c:v>
                </c:pt>
                <c:pt idx="156">
                  <c:v>57</c:v>
                </c:pt>
                <c:pt idx="157">
                  <c:v>66</c:v>
                </c:pt>
                <c:pt idx="158">
                  <c:v>11</c:v>
                </c:pt>
                <c:pt idx="159">
                  <c:v>18</c:v>
                </c:pt>
                <c:pt idx="160">
                  <c:v>55</c:v>
                </c:pt>
                <c:pt idx="161">
                  <c:v>43</c:v>
                </c:pt>
                <c:pt idx="162">
                  <c:v>43</c:v>
                </c:pt>
                <c:pt idx="163">
                  <c:v>33</c:v>
                </c:pt>
                <c:pt idx="164">
                  <c:v>31</c:v>
                </c:pt>
                <c:pt idx="165">
                  <c:v>9</c:v>
                </c:pt>
                <c:pt idx="166">
                  <c:v>9</c:v>
                </c:pt>
                <c:pt idx="167">
                  <c:v>49</c:v>
                </c:pt>
                <c:pt idx="168">
                  <c:v>41</c:v>
                </c:pt>
                <c:pt idx="169">
                  <c:v>29</c:v>
                </c:pt>
                <c:pt idx="170">
                  <c:v>29</c:v>
                </c:pt>
                <c:pt idx="171">
                  <c:v>25</c:v>
                </c:pt>
                <c:pt idx="172">
                  <c:v>8</c:v>
                </c:pt>
                <c:pt idx="173">
                  <c:v>10</c:v>
                </c:pt>
                <c:pt idx="174">
                  <c:v>42</c:v>
                </c:pt>
                <c:pt idx="175">
                  <c:v>34</c:v>
                </c:pt>
                <c:pt idx="176">
                  <c:v>20</c:v>
                </c:pt>
                <c:pt idx="177">
                  <c:v>25</c:v>
                </c:pt>
                <c:pt idx="178">
                  <c:v>22</c:v>
                </c:pt>
                <c:pt idx="179">
                  <c:v>9</c:v>
                </c:pt>
                <c:pt idx="18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20-404B-960A-997C57B0E8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320-404B-960A-997C57B0E88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154</c:v>
                </c:pt>
                <c:pt idx="89">
                  <c:v>1175</c:v>
                </c:pt>
                <c:pt idx="90">
                  <c:v>1192</c:v>
                </c:pt>
                <c:pt idx="91">
                  <c:v>1207</c:v>
                </c:pt>
                <c:pt idx="92">
                  <c:v>1220</c:v>
                </c:pt>
                <c:pt idx="93">
                  <c:v>1233</c:v>
                </c:pt>
                <c:pt idx="94">
                  <c:v>1245</c:v>
                </c:pt>
                <c:pt idx="95">
                  <c:v>1256</c:v>
                </c:pt>
                <c:pt idx="96">
                  <c:v>1266</c:v>
                </c:pt>
                <c:pt idx="97">
                  <c:v>1276</c:v>
                </c:pt>
                <c:pt idx="98">
                  <c:v>1285</c:v>
                </c:pt>
                <c:pt idx="99">
                  <c:v>1293</c:v>
                </c:pt>
                <c:pt idx="100">
                  <c:v>1301</c:v>
                </c:pt>
                <c:pt idx="101">
                  <c:v>1308</c:v>
                </c:pt>
                <c:pt idx="102">
                  <c:v>1314</c:v>
                </c:pt>
                <c:pt idx="103">
                  <c:v>1320</c:v>
                </c:pt>
                <c:pt idx="104">
                  <c:v>1325</c:v>
                </c:pt>
                <c:pt idx="105">
                  <c:v>1330</c:v>
                </c:pt>
                <c:pt idx="106">
                  <c:v>1334</c:v>
                </c:pt>
                <c:pt idx="107">
                  <c:v>1337</c:v>
                </c:pt>
                <c:pt idx="108">
                  <c:v>1340</c:v>
                </c:pt>
                <c:pt idx="109">
                  <c:v>1343</c:v>
                </c:pt>
                <c:pt idx="110">
                  <c:v>1345</c:v>
                </c:pt>
                <c:pt idx="111">
                  <c:v>1346</c:v>
                </c:pt>
                <c:pt idx="112">
                  <c:v>1347</c:v>
                </c:pt>
                <c:pt idx="113">
                  <c:v>1347</c:v>
                </c:pt>
                <c:pt idx="114">
                  <c:v>1347</c:v>
                </c:pt>
                <c:pt idx="115">
                  <c:v>1346</c:v>
                </c:pt>
                <c:pt idx="116">
                  <c:v>1345</c:v>
                </c:pt>
                <c:pt idx="117">
                  <c:v>1343</c:v>
                </c:pt>
                <c:pt idx="118">
                  <c:v>1341</c:v>
                </c:pt>
                <c:pt idx="119">
                  <c:v>1338</c:v>
                </c:pt>
                <c:pt idx="120">
                  <c:v>1335</c:v>
                </c:pt>
                <c:pt idx="121">
                  <c:v>1331</c:v>
                </c:pt>
                <c:pt idx="122">
                  <c:v>1326</c:v>
                </c:pt>
                <c:pt idx="123">
                  <c:v>1322</c:v>
                </c:pt>
                <c:pt idx="124">
                  <c:v>1316</c:v>
                </c:pt>
                <c:pt idx="125">
                  <c:v>1311</c:v>
                </c:pt>
                <c:pt idx="126">
                  <c:v>1305</c:v>
                </c:pt>
                <c:pt idx="127">
                  <c:v>1298</c:v>
                </c:pt>
                <c:pt idx="128">
                  <c:v>1291</c:v>
                </c:pt>
                <c:pt idx="129">
                  <c:v>1284</c:v>
                </c:pt>
                <c:pt idx="130">
                  <c:v>1276</c:v>
                </c:pt>
                <c:pt idx="131">
                  <c:v>1268</c:v>
                </c:pt>
                <c:pt idx="132">
                  <c:v>1259</c:v>
                </c:pt>
                <c:pt idx="133">
                  <c:v>1250</c:v>
                </c:pt>
                <c:pt idx="134">
                  <c:v>1241</c:v>
                </c:pt>
                <c:pt idx="135">
                  <c:v>1231</c:v>
                </c:pt>
                <c:pt idx="136">
                  <c:v>1221</c:v>
                </c:pt>
                <c:pt idx="137">
                  <c:v>1210</c:v>
                </c:pt>
                <c:pt idx="138">
                  <c:v>1200</c:v>
                </c:pt>
                <c:pt idx="139">
                  <c:v>1189</c:v>
                </c:pt>
                <c:pt idx="140">
                  <c:v>1178</c:v>
                </c:pt>
                <c:pt idx="141">
                  <c:v>1166</c:v>
                </c:pt>
                <c:pt idx="142">
                  <c:v>1154</c:v>
                </c:pt>
                <c:pt idx="143">
                  <c:v>1142</c:v>
                </c:pt>
                <c:pt idx="144">
                  <c:v>1130</c:v>
                </c:pt>
                <c:pt idx="145">
                  <c:v>1118</c:v>
                </c:pt>
                <c:pt idx="146">
                  <c:v>1105</c:v>
                </c:pt>
                <c:pt idx="147">
                  <c:v>1092</c:v>
                </c:pt>
                <c:pt idx="148">
                  <c:v>1079</c:v>
                </c:pt>
                <c:pt idx="149">
                  <c:v>1066</c:v>
                </c:pt>
                <c:pt idx="150">
                  <c:v>1053</c:v>
                </c:pt>
                <c:pt idx="151">
                  <c:v>1039</c:v>
                </c:pt>
                <c:pt idx="152">
                  <c:v>1025</c:v>
                </c:pt>
                <c:pt idx="153">
                  <c:v>1012</c:v>
                </c:pt>
                <c:pt idx="154">
                  <c:v>998</c:v>
                </c:pt>
                <c:pt idx="155">
                  <c:v>984</c:v>
                </c:pt>
                <c:pt idx="156">
                  <c:v>970</c:v>
                </c:pt>
                <c:pt idx="157">
                  <c:v>956</c:v>
                </c:pt>
                <c:pt idx="158">
                  <c:v>942</c:v>
                </c:pt>
                <c:pt idx="159">
                  <c:v>928</c:v>
                </c:pt>
                <c:pt idx="160">
                  <c:v>914</c:v>
                </c:pt>
                <c:pt idx="161">
                  <c:v>900</c:v>
                </c:pt>
                <c:pt idx="162">
                  <c:v>886</c:v>
                </c:pt>
                <c:pt idx="163">
                  <c:v>872</c:v>
                </c:pt>
                <c:pt idx="164">
                  <c:v>858</c:v>
                </c:pt>
                <c:pt idx="165">
                  <c:v>844</c:v>
                </c:pt>
                <c:pt idx="166">
                  <c:v>830</c:v>
                </c:pt>
                <c:pt idx="167">
                  <c:v>816</c:v>
                </c:pt>
                <c:pt idx="168">
                  <c:v>802</c:v>
                </c:pt>
                <c:pt idx="169">
                  <c:v>788</c:v>
                </c:pt>
                <c:pt idx="170">
                  <c:v>774</c:v>
                </c:pt>
                <c:pt idx="171">
                  <c:v>761</c:v>
                </c:pt>
                <c:pt idx="172">
                  <c:v>747</c:v>
                </c:pt>
                <c:pt idx="173">
                  <c:v>734</c:v>
                </c:pt>
                <c:pt idx="174">
                  <c:v>720</c:v>
                </c:pt>
                <c:pt idx="175">
                  <c:v>707</c:v>
                </c:pt>
                <c:pt idx="176">
                  <c:v>694</c:v>
                </c:pt>
                <c:pt idx="177">
                  <c:v>681</c:v>
                </c:pt>
                <c:pt idx="178">
                  <c:v>668</c:v>
                </c:pt>
                <c:pt idx="179">
                  <c:v>655</c:v>
                </c:pt>
                <c:pt idx="180">
                  <c:v>642</c:v>
                </c:pt>
                <c:pt idx="181">
                  <c:v>6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320-404B-960A-997C57B0E88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143</c:v>
                </c:pt>
                <c:pt idx="89">
                  <c:v>1145</c:v>
                </c:pt>
                <c:pt idx="90">
                  <c:v>1141</c:v>
                </c:pt>
                <c:pt idx="91">
                  <c:v>1134</c:v>
                </c:pt>
                <c:pt idx="92">
                  <c:v>1123</c:v>
                </c:pt>
                <c:pt idx="93">
                  <c:v>1112</c:v>
                </c:pt>
                <c:pt idx="94">
                  <c:v>1100</c:v>
                </c:pt>
                <c:pt idx="95">
                  <c:v>1086</c:v>
                </c:pt>
                <c:pt idx="96">
                  <c:v>1073</c:v>
                </c:pt>
                <c:pt idx="97">
                  <c:v>1058</c:v>
                </c:pt>
                <c:pt idx="98">
                  <c:v>1043</c:v>
                </c:pt>
                <c:pt idx="99">
                  <c:v>1028</c:v>
                </c:pt>
                <c:pt idx="100">
                  <c:v>1013</c:v>
                </c:pt>
                <c:pt idx="101">
                  <c:v>997</c:v>
                </c:pt>
                <c:pt idx="102">
                  <c:v>981</c:v>
                </c:pt>
                <c:pt idx="103">
                  <c:v>965</c:v>
                </c:pt>
                <c:pt idx="104">
                  <c:v>949</c:v>
                </c:pt>
                <c:pt idx="105">
                  <c:v>933</c:v>
                </c:pt>
                <c:pt idx="106">
                  <c:v>917</c:v>
                </c:pt>
                <c:pt idx="107">
                  <c:v>900</c:v>
                </c:pt>
                <c:pt idx="108">
                  <c:v>884</c:v>
                </c:pt>
                <c:pt idx="109">
                  <c:v>868</c:v>
                </c:pt>
                <c:pt idx="110">
                  <c:v>852</c:v>
                </c:pt>
                <c:pt idx="111">
                  <c:v>836</c:v>
                </c:pt>
                <c:pt idx="112">
                  <c:v>820</c:v>
                </c:pt>
                <c:pt idx="113">
                  <c:v>804</c:v>
                </c:pt>
                <c:pt idx="114">
                  <c:v>788</c:v>
                </c:pt>
                <c:pt idx="115">
                  <c:v>773</c:v>
                </c:pt>
                <c:pt idx="116">
                  <c:v>757</c:v>
                </c:pt>
                <c:pt idx="117">
                  <c:v>742</c:v>
                </c:pt>
                <c:pt idx="118">
                  <c:v>727</c:v>
                </c:pt>
                <c:pt idx="119">
                  <c:v>712</c:v>
                </c:pt>
                <c:pt idx="120">
                  <c:v>697</c:v>
                </c:pt>
                <c:pt idx="121">
                  <c:v>683</c:v>
                </c:pt>
                <c:pt idx="122">
                  <c:v>669</c:v>
                </c:pt>
                <c:pt idx="123">
                  <c:v>654</c:v>
                </c:pt>
                <c:pt idx="124">
                  <c:v>640</c:v>
                </c:pt>
                <c:pt idx="125">
                  <c:v>627</c:v>
                </c:pt>
                <c:pt idx="126">
                  <c:v>613</c:v>
                </c:pt>
                <c:pt idx="127">
                  <c:v>600</c:v>
                </c:pt>
                <c:pt idx="128">
                  <c:v>587</c:v>
                </c:pt>
                <c:pt idx="129">
                  <c:v>574</c:v>
                </c:pt>
                <c:pt idx="130">
                  <c:v>561</c:v>
                </c:pt>
                <c:pt idx="131">
                  <c:v>548</c:v>
                </c:pt>
                <c:pt idx="132">
                  <c:v>536</c:v>
                </c:pt>
                <c:pt idx="133">
                  <c:v>524</c:v>
                </c:pt>
                <c:pt idx="134">
                  <c:v>512</c:v>
                </c:pt>
                <c:pt idx="135">
                  <c:v>500</c:v>
                </c:pt>
                <c:pt idx="136">
                  <c:v>489</c:v>
                </c:pt>
                <c:pt idx="137">
                  <c:v>478</c:v>
                </c:pt>
                <c:pt idx="138">
                  <c:v>467</c:v>
                </c:pt>
                <c:pt idx="139">
                  <c:v>456</c:v>
                </c:pt>
                <c:pt idx="140">
                  <c:v>445</c:v>
                </c:pt>
                <c:pt idx="141">
                  <c:v>435</c:v>
                </c:pt>
                <c:pt idx="142">
                  <c:v>425</c:v>
                </c:pt>
                <c:pt idx="143">
                  <c:v>415</c:v>
                </c:pt>
                <c:pt idx="144">
                  <c:v>405</c:v>
                </c:pt>
                <c:pt idx="145">
                  <c:v>395</c:v>
                </c:pt>
                <c:pt idx="146">
                  <c:v>386</c:v>
                </c:pt>
                <c:pt idx="147">
                  <c:v>376</c:v>
                </c:pt>
                <c:pt idx="148">
                  <c:v>367</c:v>
                </c:pt>
                <c:pt idx="149">
                  <c:v>359</c:v>
                </c:pt>
                <c:pt idx="150">
                  <c:v>350</c:v>
                </c:pt>
                <c:pt idx="151">
                  <c:v>341</c:v>
                </c:pt>
                <c:pt idx="152">
                  <c:v>333</c:v>
                </c:pt>
                <c:pt idx="153">
                  <c:v>325</c:v>
                </c:pt>
                <c:pt idx="154">
                  <c:v>317</c:v>
                </c:pt>
                <c:pt idx="155">
                  <c:v>309</c:v>
                </c:pt>
                <c:pt idx="156">
                  <c:v>302</c:v>
                </c:pt>
                <c:pt idx="157">
                  <c:v>294</c:v>
                </c:pt>
                <c:pt idx="158">
                  <c:v>287</c:v>
                </c:pt>
                <c:pt idx="159">
                  <c:v>280</c:v>
                </c:pt>
                <c:pt idx="160">
                  <c:v>273</c:v>
                </c:pt>
                <c:pt idx="161">
                  <c:v>266</c:v>
                </c:pt>
                <c:pt idx="162">
                  <c:v>259</c:v>
                </c:pt>
                <c:pt idx="163">
                  <c:v>253</c:v>
                </c:pt>
                <c:pt idx="164">
                  <c:v>247</c:v>
                </c:pt>
                <c:pt idx="165">
                  <c:v>240</c:v>
                </c:pt>
                <c:pt idx="166">
                  <c:v>234</c:v>
                </c:pt>
                <c:pt idx="167">
                  <c:v>228</c:v>
                </c:pt>
                <c:pt idx="168">
                  <c:v>223</c:v>
                </c:pt>
                <c:pt idx="169">
                  <c:v>217</c:v>
                </c:pt>
                <c:pt idx="170">
                  <c:v>211</c:v>
                </c:pt>
                <c:pt idx="171">
                  <c:v>206</c:v>
                </c:pt>
                <c:pt idx="172">
                  <c:v>201</c:v>
                </c:pt>
                <c:pt idx="173">
                  <c:v>196</c:v>
                </c:pt>
                <c:pt idx="174">
                  <c:v>191</c:v>
                </c:pt>
                <c:pt idx="175">
                  <c:v>186</c:v>
                </c:pt>
                <c:pt idx="176">
                  <c:v>181</c:v>
                </c:pt>
                <c:pt idx="177">
                  <c:v>176</c:v>
                </c:pt>
                <c:pt idx="178">
                  <c:v>172</c:v>
                </c:pt>
                <c:pt idx="179">
                  <c:v>167</c:v>
                </c:pt>
                <c:pt idx="180">
                  <c:v>163</c:v>
                </c:pt>
                <c:pt idx="181">
                  <c:v>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320-404B-960A-997C57B0E8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39</c:v>
                </c:pt>
                <c:pt idx="1">
                  <c:v>267</c:v>
                </c:pt>
                <c:pt idx="2">
                  <c:v>238</c:v>
                </c:pt>
                <c:pt idx="3">
                  <c:v>243</c:v>
                </c:pt>
                <c:pt idx="4">
                  <c:v>114</c:v>
                </c:pt>
                <c:pt idx="5">
                  <c:v>60</c:v>
                </c:pt>
                <c:pt idx="6">
                  <c:v>258</c:v>
                </c:pt>
                <c:pt idx="7">
                  <c:v>210</c:v>
                </c:pt>
                <c:pt idx="8">
                  <c:v>261</c:v>
                </c:pt>
                <c:pt idx="9">
                  <c:v>268</c:v>
                </c:pt>
                <c:pt idx="10">
                  <c:v>279</c:v>
                </c:pt>
                <c:pt idx="11">
                  <c:v>206</c:v>
                </c:pt>
                <c:pt idx="12">
                  <c:v>49</c:v>
                </c:pt>
                <c:pt idx="13">
                  <c:v>335</c:v>
                </c:pt>
                <c:pt idx="14">
                  <c:v>378</c:v>
                </c:pt>
                <c:pt idx="15">
                  <c:v>375</c:v>
                </c:pt>
                <c:pt idx="16">
                  <c:v>455</c:v>
                </c:pt>
                <c:pt idx="17">
                  <c:v>456</c:v>
                </c:pt>
                <c:pt idx="18">
                  <c:v>267</c:v>
                </c:pt>
                <c:pt idx="19">
                  <c:v>77</c:v>
                </c:pt>
                <c:pt idx="20">
                  <c:v>502</c:v>
                </c:pt>
                <c:pt idx="21">
                  <c:v>523</c:v>
                </c:pt>
                <c:pt idx="22">
                  <c:v>683</c:v>
                </c:pt>
                <c:pt idx="23">
                  <c:v>119</c:v>
                </c:pt>
                <c:pt idx="24">
                  <c:v>246</c:v>
                </c:pt>
                <c:pt idx="25">
                  <c:v>179</c:v>
                </c:pt>
                <c:pt idx="26">
                  <c:v>161</c:v>
                </c:pt>
                <c:pt idx="27">
                  <c:v>559</c:v>
                </c:pt>
                <c:pt idx="28">
                  <c:v>637</c:v>
                </c:pt>
                <c:pt idx="29">
                  <c:v>684</c:v>
                </c:pt>
                <c:pt idx="30">
                  <c:v>611</c:v>
                </c:pt>
                <c:pt idx="31">
                  <c:v>118</c:v>
                </c:pt>
                <c:pt idx="32">
                  <c:v>277</c:v>
                </c:pt>
                <c:pt idx="33">
                  <c:v>156</c:v>
                </c:pt>
                <c:pt idx="34">
                  <c:v>555</c:v>
                </c:pt>
                <c:pt idx="35">
                  <c:v>664</c:v>
                </c:pt>
                <c:pt idx="36">
                  <c:v>798</c:v>
                </c:pt>
                <c:pt idx="37">
                  <c:v>614</c:v>
                </c:pt>
                <c:pt idx="38">
                  <c:v>646</c:v>
                </c:pt>
                <c:pt idx="39">
                  <c:v>257</c:v>
                </c:pt>
                <c:pt idx="40">
                  <c:v>131</c:v>
                </c:pt>
                <c:pt idx="41">
                  <c:v>544</c:v>
                </c:pt>
                <c:pt idx="42">
                  <c:v>556</c:v>
                </c:pt>
                <c:pt idx="43">
                  <c:v>512</c:v>
                </c:pt>
                <c:pt idx="44">
                  <c:v>320</c:v>
                </c:pt>
                <c:pt idx="45">
                  <c:v>550</c:v>
                </c:pt>
                <c:pt idx="46">
                  <c:v>148</c:v>
                </c:pt>
                <c:pt idx="47">
                  <c:v>113</c:v>
                </c:pt>
                <c:pt idx="48">
                  <c:v>446</c:v>
                </c:pt>
                <c:pt idx="49">
                  <c:v>572</c:v>
                </c:pt>
                <c:pt idx="50">
                  <c:v>486</c:v>
                </c:pt>
                <c:pt idx="51">
                  <c:v>458</c:v>
                </c:pt>
                <c:pt idx="52">
                  <c:v>574</c:v>
                </c:pt>
                <c:pt idx="53">
                  <c:v>166</c:v>
                </c:pt>
                <c:pt idx="54">
                  <c:v>71</c:v>
                </c:pt>
                <c:pt idx="55">
                  <c:v>405</c:v>
                </c:pt>
                <c:pt idx="56">
                  <c:v>470</c:v>
                </c:pt>
                <c:pt idx="57">
                  <c:v>640</c:v>
                </c:pt>
                <c:pt idx="58">
                  <c:v>517</c:v>
                </c:pt>
                <c:pt idx="59">
                  <c:v>658</c:v>
                </c:pt>
                <c:pt idx="60">
                  <c:v>126</c:v>
                </c:pt>
                <c:pt idx="61">
                  <c:v>127</c:v>
                </c:pt>
                <c:pt idx="62">
                  <c:v>512</c:v>
                </c:pt>
                <c:pt idx="63">
                  <c:v>651</c:v>
                </c:pt>
                <c:pt idx="64">
                  <c:v>770</c:v>
                </c:pt>
                <c:pt idx="65">
                  <c:v>772</c:v>
                </c:pt>
                <c:pt idx="66">
                  <c:v>750</c:v>
                </c:pt>
                <c:pt idx="67">
                  <c:v>210</c:v>
                </c:pt>
                <c:pt idx="68">
                  <c:v>94</c:v>
                </c:pt>
                <c:pt idx="69">
                  <c:v>620</c:v>
                </c:pt>
                <c:pt idx="70">
                  <c:v>852</c:v>
                </c:pt>
                <c:pt idx="71">
                  <c:v>689</c:v>
                </c:pt>
                <c:pt idx="72">
                  <c:v>801</c:v>
                </c:pt>
                <c:pt idx="73">
                  <c:v>847</c:v>
                </c:pt>
                <c:pt idx="74">
                  <c:v>311</c:v>
                </c:pt>
                <c:pt idx="75">
                  <c:v>153</c:v>
                </c:pt>
                <c:pt idx="76">
                  <c:v>791</c:v>
                </c:pt>
                <c:pt idx="77">
                  <c:v>1122</c:v>
                </c:pt>
                <c:pt idx="78">
                  <c:v>1039</c:v>
                </c:pt>
                <c:pt idx="79">
                  <c:v>1102</c:v>
                </c:pt>
                <c:pt idx="80">
                  <c:v>1186</c:v>
                </c:pt>
                <c:pt idx="81">
                  <c:v>476</c:v>
                </c:pt>
                <c:pt idx="82">
                  <c:v>261</c:v>
                </c:pt>
                <c:pt idx="83">
                  <c:v>980</c:v>
                </c:pt>
                <c:pt idx="84">
                  <c:v>1545</c:v>
                </c:pt>
                <c:pt idx="85">
                  <c:v>1446</c:v>
                </c:pt>
                <c:pt idx="86">
                  <c:v>1286</c:v>
                </c:pt>
                <c:pt idx="87">
                  <c:v>1520</c:v>
                </c:pt>
                <c:pt idx="88">
                  <c:v>496</c:v>
                </c:pt>
                <c:pt idx="89">
                  <c:v>208</c:v>
                </c:pt>
                <c:pt idx="90">
                  <c:v>1008</c:v>
                </c:pt>
                <c:pt idx="91">
                  <c:v>1594</c:v>
                </c:pt>
                <c:pt idx="92">
                  <c:v>1269</c:v>
                </c:pt>
                <c:pt idx="93">
                  <c:v>1170</c:v>
                </c:pt>
                <c:pt idx="94">
                  <c:v>1248</c:v>
                </c:pt>
                <c:pt idx="95">
                  <c:v>445</c:v>
                </c:pt>
                <c:pt idx="96">
                  <c:v>174</c:v>
                </c:pt>
                <c:pt idx="97">
                  <c:v>797</c:v>
                </c:pt>
                <c:pt idx="98">
                  <c:v>1363</c:v>
                </c:pt>
                <c:pt idx="99">
                  <c:v>1231</c:v>
                </c:pt>
                <c:pt idx="100">
                  <c:v>825</c:v>
                </c:pt>
                <c:pt idx="101">
                  <c:v>1067</c:v>
                </c:pt>
                <c:pt idx="102">
                  <c:v>245</c:v>
                </c:pt>
                <c:pt idx="103">
                  <c:v>316</c:v>
                </c:pt>
                <c:pt idx="104">
                  <c:v>672</c:v>
                </c:pt>
                <c:pt idx="105">
                  <c:v>1070</c:v>
                </c:pt>
                <c:pt idx="106">
                  <c:v>800</c:v>
                </c:pt>
                <c:pt idx="107">
                  <c:v>679</c:v>
                </c:pt>
                <c:pt idx="108">
                  <c:v>636</c:v>
                </c:pt>
                <c:pt idx="109">
                  <c:v>198</c:v>
                </c:pt>
                <c:pt idx="110">
                  <c:v>153</c:v>
                </c:pt>
                <c:pt idx="111">
                  <c:v>479</c:v>
                </c:pt>
                <c:pt idx="112">
                  <c:v>545</c:v>
                </c:pt>
                <c:pt idx="113">
                  <c:v>565</c:v>
                </c:pt>
                <c:pt idx="114">
                  <c:v>375</c:v>
                </c:pt>
                <c:pt idx="115">
                  <c:v>477</c:v>
                </c:pt>
                <c:pt idx="116">
                  <c:v>120</c:v>
                </c:pt>
                <c:pt idx="117">
                  <c:v>84</c:v>
                </c:pt>
                <c:pt idx="118">
                  <c:v>346</c:v>
                </c:pt>
                <c:pt idx="119">
                  <c:v>389</c:v>
                </c:pt>
                <c:pt idx="120">
                  <c:v>359</c:v>
                </c:pt>
                <c:pt idx="121">
                  <c:v>319</c:v>
                </c:pt>
                <c:pt idx="122">
                  <c:v>161</c:v>
                </c:pt>
                <c:pt idx="123">
                  <c:v>47</c:v>
                </c:pt>
                <c:pt idx="124">
                  <c:v>74</c:v>
                </c:pt>
                <c:pt idx="125">
                  <c:v>32</c:v>
                </c:pt>
                <c:pt idx="126">
                  <c:v>260</c:v>
                </c:pt>
                <c:pt idx="127">
                  <c:v>276</c:v>
                </c:pt>
                <c:pt idx="128">
                  <c:v>206</c:v>
                </c:pt>
                <c:pt idx="129">
                  <c:v>193</c:v>
                </c:pt>
                <c:pt idx="130">
                  <c:v>58</c:v>
                </c:pt>
                <c:pt idx="131">
                  <c:v>35</c:v>
                </c:pt>
                <c:pt idx="132">
                  <c:v>185</c:v>
                </c:pt>
                <c:pt idx="133">
                  <c:v>156</c:v>
                </c:pt>
                <c:pt idx="134">
                  <c:v>92</c:v>
                </c:pt>
                <c:pt idx="135">
                  <c:v>100</c:v>
                </c:pt>
                <c:pt idx="136">
                  <c:v>129</c:v>
                </c:pt>
                <c:pt idx="137">
                  <c:v>40</c:v>
                </c:pt>
                <c:pt idx="138">
                  <c:v>21</c:v>
                </c:pt>
                <c:pt idx="139">
                  <c:v>133</c:v>
                </c:pt>
                <c:pt idx="140">
                  <c:v>128</c:v>
                </c:pt>
                <c:pt idx="141">
                  <c:v>106</c:v>
                </c:pt>
                <c:pt idx="142">
                  <c:v>81</c:v>
                </c:pt>
                <c:pt idx="143">
                  <c:v>93</c:v>
                </c:pt>
                <c:pt idx="144">
                  <c:v>48</c:v>
                </c:pt>
                <c:pt idx="145">
                  <c:v>20</c:v>
                </c:pt>
                <c:pt idx="146">
                  <c:v>125</c:v>
                </c:pt>
                <c:pt idx="147">
                  <c:v>109</c:v>
                </c:pt>
                <c:pt idx="148">
                  <c:v>106</c:v>
                </c:pt>
                <c:pt idx="149">
                  <c:v>65</c:v>
                </c:pt>
                <c:pt idx="150">
                  <c:v>74</c:v>
                </c:pt>
                <c:pt idx="151">
                  <c:v>34</c:v>
                </c:pt>
                <c:pt idx="152">
                  <c:v>12</c:v>
                </c:pt>
                <c:pt idx="153">
                  <c:v>54</c:v>
                </c:pt>
                <c:pt idx="154">
                  <c:v>101</c:v>
                </c:pt>
                <c:pt idx="155">
                  <c:v>65</c:v>
                </c:pt>
                <c:pt idx="156">
                  <c:v>57</c:v>
                </c:pt>
                <c:pt idx="157">
                  <c:v>66</c:v>
                </c:pt>
                <c:pt idx="158">
                  <c:v>11</c:v>
                </c:pt>
                <c:pt idx="159">
                  <c:v>18</c:v>
                </c:pt>
                <c:pt idx="160">
                  <c:v>55</c:v>
                </c:pt>
                <c:pt idx="161">
                  <c:v>43</c:v>
                </c:pt>
                <c:pt idx="162">
                  <c:v>43</c:v>
                </c:pt>
                <c:pt idx="163">
                  <c:v>33</c:v>
                </c:pt>
                <c:pt idx="164">
                  <c:v>31</c:v>
                </c:pt>
                <c:pt idx="165">
                  <c:v>9</c:v>
                </c:pt>
                <c:pt idx="166">
                  <c:v>9</c:v>
                </c:pt>
                <c:pt idx="167">
                  <c:v>49</c:v>
                </c:pt>
                <c:pt idx="168">
                  <c:v>41</c:v>
                </c:pt>
                <c:pt idx="169">
                  <c:v>29</c:v>
                </c:pt>
                <c:pt idx="170">
                  <c:v>29</c:v>
                </c:pt>
                <c:pt idx="171">
                  <c:v>25</c:v>
                </c:pt>
                <c:pt idx="172">
                  <c:v>8</c:v>
                </c:pt>
                <c:pt idx="173">
                  <c:v>10</c:v>
                </c:pt>
                <c:pt idx="174">
                  <c:v>42</c:v>
                </c:pt>
                <c:pt idx="175">
                  <c:v>34</c:v>
                </c:pt>
                <c:pt idx="176">
                  <c:v>20</c:v>
                </c:pt>
                <c:pt idx="177">
                  <c:v>25</c:v>
                </c:pt>
                <c:pt idx="178">
                  <c:v>22</c:v>
                </c:pt>
                <c:pt idx="179">
                  <c:v>9</c:v>
                </c:pt>
                <c:pt idx="18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043</c:v>
                </c:pt>
                <c:pt idx="89">
                  <c:v>1043</c:v>
                </c:pt>
                <c:pt idx="90">
                  <c:v>1037</c:v>
                </c:pt>
                <c:pt idx="91">
                  <c:v>1027</c:v>
                </c:pt>
                <c:pt idx="92">
                  <c:v>1015</c:v>
                </c:pt>
                <c:pt idx="93">
                  <c:v>1002</c:v>
                </c:pt>
                <c:pt idx="94">
                  <c:v>988</c:v>
                </c:pt>
                <c:pt idx="95">
                  <c:v>973</c:v>
                </c:pt>
                <c:pt idx="96">
                  <c:v>958</c:v>
                </c:pt>
                <c:pt idx="97">
                  <c:v>942</c:v>
                </c:pt>
                <c:pt idx="98">
                  <c:v>926</c:v>
                </c:pt>
                <c:pt idx="99">
                  <c:v>910</c:v>
                </c:pt>
                <c:pt idx="100">
                  <c:v>893</c:v>
                </c:pt>
                <c:pt idx="101">
                  <c:v>876</c:v>
                </c:pt>
                <c:pt idx="102">
                  <c:v>859</c:v>
                </c:pt>
                <c:pt idx="103">
                  <c:v>841</c:v>
                </c:pt>
                <c:pt idx="104">
                  <c:v>824</c:v>
                </c:pt>
                <c:pt idx="105">
                  <c:v>806</c:v>
                </c:pt>
                <c:pt idx="106">
                  <c:v>789</c:v>
                </c:pt>
                <c:pt idx="107">
                  <c:v>771</c:v>
                </c:pt>
                <c:pt idx="108">
                  <c:v>753</c:v>
                </c:pt>
                <c:pt idx="109">
                  <c:v>736</c:v>
                </c:pt>
                <c:pt idx="110">
                  <c:v>718</c:v>
                </c:pt>
                <c:pt idx="111">
                  <c:v>701</c:v>
                </c:pt>
                <c:pt idx="112">
                  <c:v>683</c:v>
                </c:pt>
                <c:pt idx="113">
                  <c:v>666</c:v>
                </c:pt>
                <c:pt idx="114">
                  <c:v>649</c:v>
                </c:pt>
                <c:pt idx="115">
                  <c:v>633</c:v>
                </c:pt>
                <c:pt idx="116">
                  <c:v>616</c:v>
                </c:pt>
                <c:pt idx="117">
                  <c:v>600</c:v>
                </c:pt>
                <c:pt idx="118">
                  <c:v>584</c:v>
                </c:pt>
                <c:pt idx="119">
                  <c:v>568</c:v>
                </c:pt>
                <c:pt idx="120">
                  <c:v>553</c:v>
                </c:pt>
                <c:pt idx="121">
                  <c:v>538</c:v>
                </c:pt>
                <c:pt idx="122">
                  <c:v>523</c:v>
                </c:pt>
                <c:pt idx="123">
                  <c:v>508</c:v>
                </c:pt>
                <c:pt idx="124">
                  <c:v>494</c:v>
                </c:pt>
                <c:pt idx="125">
                  <c:v>480</c:v>
                </c:pt>
                <c:pt idx="126">
                  <c:v>467</c:v>
                </c:pt>
                <c:pt idx="127">
                  <c:v>453</c:v>
                </c:pt>
                <c:pt idx="128">
                  <c:v>440</c:v>
                </c:pt>
                <c:pt idx="129">
                  <c:v>428</c:v>
                </c:pt>
                <c:pt idx="130">
                  <c:v>415</c:v>
                </c:pt>
                <c:pt idx="131">
                  <c:v>403</c:v>
                </c:pt>
                <c:pt idx="132">
                  <c:v>391</c:v>
                </c:pt>
                <c:pt idx="133">
                  <c:v>380</c:v>
                </c:pt>
                <c:pt idx="134">
                  <c:v>368</c:v>
                </c:pt>
                <c:pt idx="135">
                  <c:v>357</c:v>
                </c:pt>
                <c:pt idx="136">
                  <c:v>346</c:v>
                </c:pt>
                <c:pt idx="137">
                  <c:v>335</c:v>
                </c:pt>
                <c:pt idx="138">
                  <c:v>324</c:v>
                </c:pt>
                <c:pt idx="139">
                  <c:v>314</c:v>
                </c:pt>
                <c:pt idx="140">
                  <c:v>304</c:v>
                </c:pt>
                <c:pt idx="141">
                  <c:v>294</c:v>
                </c:pt>
                <c:pt idx="142">
                  <c:v>285</c:v>
                </c:pt>
                <c:pt idx="143">
                  <c:v>275</c:v>
                </c:pt>
                <c:pt idx="144">
                  <c:v>266</c:v>
                </c:pt>
                <c:pt idx="145">
                  <c:v>258</c:v>
                </c:pt>
                <c:pt idx="146">
                  <c:v>249</c:v>
                </c:pt>
                <c:pt idx="147">
                  <c:v>241</c:v>
                </c:pt>
                <c:pt idx="148">
                  <c:v>233</c:v>
                </c:pt>
                <c:pt idx="149">
                  <c:v>225</c:v>
                </c:pt>
                <c:pt idx="150">
                  <c:v>217</c:v>
                </c:pt>
                <c:pt idx="151">
                  <c:v>210</c:v>
                </c:pt>
                <c:pt idx="152">
                  <c:v>203</c:v>
                </c:pt>
                <c:pt idx="153">
                  <c:v>196</c:v>
                </c:pt>
                <c:pt idx="154">
                  <c:v>189</c:v>
                </c:pt>
                <c:pt idx="155">
                  <c:v>182</c:v>
                </c:pt>
                <c:pt idx="156">
                  <c:v>176</c:v>
                </c:pt>
                <c:pt idx="157">
                  <c:v>170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29</c:v>
                </c:pt>
                <c:pt idx="165">
                  <c:v>123</c:v>
                </c:pt>
                <c:pt idx="166">
                  <c:v>117</c:v>
                </c:pt>
                <c:pt idx="167">
                  <c:v>112</c:v>
                </c:pt>
                <c:pt idx="168">
                  <c:v>106</c:v>
                </c:pt>
                <c:pt idx="169">
                  <c:v>101</c:v>
                </c:pt>
                <c:pt idx="170">
                  <c:v>96</c:v>
                </c:pt>
                <c:pt idx="171">
                  <c:v>91</c:v>
                </c:pt>
                <c:pt idx="172">
                  <c:v>86</c:v>
                </c:pt>
                <c:pt idx="173">
                  <c:v>82</c:v>
                </c:pt>
                <c:pt idx="174">
                  <c:v>78</c:v>
                </c:pt>
                <c:pt idx="175">
                  <c:v>73</c:v>
                </c:pt>
                <c:pt idx="176">
                  <c:v>69</c:v>
                </c:pt>
                <c:pt idx="177">
                  <c:v>66</c:v>
                </c:pt>
                <c:pt idx="178">
                  <c:v>62</c:v>
                </c:pt>
                <c:pt idx="179">
                  <c:v>59</c:v>
                </c:pt>
                <c:pt idx="180">
                  <c:v>56</c:v>
                </c:pt>
                <c:pt idx="181">
                  <c:v>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143</c:v>
                </c:pt>
                <c:pt idx="89">
                  <c:v>1145</c:v>
                </c:pt>
                <c:pt idx="90">
                  <c:v>1141</c:v>
                </c:pt>
                <c:pt idx="91">
                  <c:v>1134</c:v>
                </c:pt>
                <c:pt idx="92">
                  <c:v>1123</c:v>
                </c:pt>
                <c:pt idx="93">
                  <c:v>1112</c:v>
                </c:pt>
                <c:pt idx="94">
                  <c:v>1100</c:v>
                </c:pt>
                <c:pt idx="95">
                  <c:v>1086</c:v>
                </c:pt>
                <c:pt idx="96">
                  <c:v>1073</c:v>
                </c:pt>
                <c:pt idx="97">
                  <c:v>1058</c:v>
                </c:pt>
                <c:pt idx="98">
                  <c:v>1043</c:v>
                </c:pt>
                <c:pt idx="99">
                  <c:v>1028</c:v>
                </c:pt>
                <c:pt idx="100">
                  <c:v>1013</c:v>
                </c:pt>
                <c:pt idx="101">
                  <c:v>997</c:v>
                </c:pt>
                <c:pt idx="102">
                  <c:v>981</c:v>
                </c:pt>
                <c:pt idx="103">
                  <c:v>965</c:v>
                </c:pt>
                <c:pt idx="104">
                  <c:v>949</c:v>
                </c:pt>
                <c:pt idx="105">
                  <c:v>933</c:v>
                </c:pt>
                <c:pt idx="106">
                  <c:v>917</c:v>
                </c:pt>
                <c:pt idx="107">
                  <c:v>900</c:v>
                </c:pt>
                <c:pt idx="108">
                  <c:v>884</c:v>
                </c:pt>
                <c:pt idx="109">
                  <c:v>868</c:v>
                </c:pt>
                <c:pt idx="110">
                  <c:v>852</c:v>
                </c:pt>
                <c:pt idx="111">
                  <c:v>836</c:v>
                </c:pt>
                <c:pt idx="112">
                  <c:v>820</c:v>
                </c:pt>
                <c:pt idx="113">
                  <c:v>804</c:v>
                </c:pt>
                <c:pt idx="114">
                  <c:v>788</c:v>
                </c:pt>
                <c:pt idx="115">
                  <c:v>773</c:v>
                </c:pt>
                <c:pt idx="116">
                  <c:v>757</c:v>
                </c:pt>
                <c:pt idx="117">
                  <c:v>742</c:v>
                </c:pt>
                <c:pt idx="118">
                  <c:v>727</c:v>
                </c:pt>
                <c:pt idx="119">
                  <c:v>712</c:v>
                </c:pt>
                <c:pt idx="120">
                  <c:v>697</c:v>
                </c:pt>
                <c:pt idx="121">
                  <c:v>683</c:v>
                </c:pt>
                <c:pt idx="122">
                  <c:v>669</c:v>
                </c:pt>
                <c:pt idx="123">
                  <c:v>654</c:v>
                </c:pt>
                <c:pt idx="124">
                  <c:v>640</c:v>
                </c:pt>
                <c:pt idx="125">
                  <c:v>627</c:v>
                </c:pt>
                <c:pt idx="126">
                  <c:v>613</c:v>
                </c:pt>
                <c:pt idx="127">
                  <c:v>600</c:v>
                </c:pt>
                <c:pt idx="128">
                  <c:v>587</c:v>
                </c:pt>
                <c:pt idx="129">
                  <c:v>574</c:v>
                </c:pt>
                <c:pt idx="130">
                  <c:v>561</c:v>
                </c:pt>
                <c:pt idx="131">
                  <c:v>548</c:v>
                </c:pt>
                <c:pt idx="132">
                  <c:v>536</c:v>
                </c:pt>
                <c:pt idx="133">
                  <c:v>524</c:v>
                </c:pt>
                <c:pt idx="134">
                  <c:v>512</c:v>
                </c:pt>
                <c:pt idx="135">
                  <c:v>500</c:v>
                </c:pt>
                <c:pt idx="136">
                  <c:v>489</c:v>
                </c:pt>
                <c:pt idx="137">
                  <c:v>478</c:v>
                </c:pt>
                <c:pt idx="138">
                  <c:v>467</c:v>
                </c:pt>
                <c:pt idx="139">
                  <c:v>456</c:v>
                </c:pt>
                <c:pt idx="140">
                  <c:v>445</c:v>
                </c:pt>
                <c:pt idx="141">
                  <c:v>435</c:v>
                </c:pt>
                <c:pt idx="142">
                  <c:v>425</c:v>
                </c:pt>
                <c:pt idx="143">
                  <c:v>415</c:v>
                </c:pt>
                <c:pt idx="144">
                  <c:v>405</c:v>
                </c:pt>
                <c:pt idx="145">
                  <c:v>395</c:v>
                </c:pt>
                <c:pt idx="146">
                  <c:v>386</c:v>
                </c:pt>
                <c:pt idx="147">
                  <c:v>376</c:v>
                </c:pt>
                <c:pt idx="148">
                  <c:v>367</c:v>
                </c:pt>
                <c:pt idx="149">
                  <c:v>359</c:v>
                </c:pt>
                <c:pt idx="150">
                  <c:v>350</c:v>
                </c:pt>
                <c:pt idx="151">
                  <c:v>341</c:v>
                </c:pt>
                <c:pt idx="152">
                  <c:v>333</c:v>
                </c:pt>
                <c:pt idx="153">
                  <c:v>325</c:v>
                </c:pt>
                <c:pt idx="154">
                  <c:v>317</c:v>
                </c:pt>
                <c:pt idx="155">
                  <c:v>309</c:v>
                </c:pt>
                <c:pt idx="156">
                  <c:v>302</c:v>
                </c:pt>
                <c:pt idx="157">
                  <c:v>294</c:v>
                </c:pt>
                <c:pt idx="158">
                  <c:v>287</c:v>
                </c:pt>
                <c:pt idx="159">
                  <c:v>280</c:v>
                </c:pt>
                <c:pt idx="160">
                  <c:v>273</c:v>
                </c:pt>
                <c:pt idx="161">
                  <c:v>266</c:v>
                </c:pt>
                <c:pt idx="162">
                  <c:v>259</c:v>
                </c:pt>
                <c:pt idx="163">
                  <c:v>253</c:v>
                </c:pt>
                <c:pt idx="164">
                  <c:v>247</c:v>
                </c:pt>
                <c:pt idx="165">
                  <c:v>240</c:v>
                </c:pt>
                <c:pt idx="166">
                  <c:v>234</c:v>
                </c:pt>
                <c:pt idx="167">
                  <c:v>228</c:v>
                </c:pt>
                <c:pt idx="168">
                  <c:v>223</c:v>
                </c:pt>
                <c:pt idx="169">
                  <c:v>217</c:v>
                </c:pt>
                <c:pt idx="170">
                  <c:v>211</c:v>
                </c:pt>
                <c:pt idx="171">
                  <c:v>206</c:v>
                </c:pt>
                <c:pt idx="172">
                  <c:v>201</c:v>
                </c:pt>
                <c:pt idx="173">
                  <c:v>196</c:v>
                </c:pt>
                <c:pt idx="174">
                  <c:v>191</c:v>
                </c:pt>
                <c:pt idx="175">
                  <c:v>186</c:v>
                </c:pt>
                <c:pt idx="176">
                  <c:v>181</c:v>
                </c:pt>
                <c:pt idx="177">
                  <c:v>176</c:v>
                </c:pt>
                <c:pt idx="178">
                  <c:v>172</c:v>
                </c:pt>
                <c:pt idx="179">
                  <c:v>167</c:v>
                </c:pt>
                <c:pt idx="180">
                  <c:v>163</c:v>
                </c:pt>
                <c:pt idx="181">
                  <c:v>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9</c:v>
                </c:pt>
                <c:pt idx="1">
                  <c:v>267</c:v>
                </c:pt>
                <c:pt idx="2">
                  <c:v>238</c:v>
                </c:pt>
                <c:pt idx="3">
                  <c:v>243</c:v>
                </c:pt>
                <c:pt idx="4">
                  <c:v>114</c:v>
                </c:pt>
                <c:pt idx="5">
                  <c:v>60</c:v>
                </c:pt>
                <c:pt idx="6">
                  <c:v>258</c:v>
                </c:pt>
                <c:pt idx="7">
                  <c:v>210</c:v>
                </c:pt>
                <c:pt idx="8">
                  <c:v>261</c:v>
                </c:pt>
                <c:pt idx="9">
                  <c:v>268</c:v>
                </c:pt>
                <c:pt idx="10">
                  <c:v>279</c:v>
                </c:pt>
                <c:pt idx="11">
                  <c:v>206</c:v>
                </c:pt>
                <c:pt idx="12">
                  <c:v>49</c:v>
                </c:pt>
                <c:pt idx="13">
                  <c:v>335</c:v>
                </c:pt>
                <c:pt idx="14">
                  <c:v>378</c:v>
                </c:pt>
                <c:pt idx="15">
                  <c:v>375</c:v>
                </c:pt>
                <c:pt idx="16">
                  <c:v>455</c:v>
                </c:pt>
                <c:pt idx="17">
                  <c:v>456</c:v>
                </c:pt>
                <c:pt idx="18">
                  <c:v>267</c:v>
                </c:pt>
                <c:pt idx="19">
                  <c:v>77</c:v>
                </c:pt>
                <c:pt idx="20">
                  <c:v>502</c:v>
                </c:pt>
                <c:pt idx="21">
                  <c:v>523</c:v>
                </c:pt>
                <c:pt idx="22">
                  <c:v>683</c:v>
                </c:pt>
                <c:pt idx="23">
                  <c:v>119</c:v>
                </c:pt>
                <c:pt idx="24">
                  <c:v>246</c:v>
                </c:pt>
                <c:pt idx="25">
                  <c:v>179</c:v>
                </c:pt>
                <c:pt idx="26">
                  <c:v>161</c:v>
                </c:pt>
                <c:pt idx="27">
                  <c:v>559</c:v>
                </c:pt>
                <c:pt idx="28">
                  <c:v>637</c:v>
                </c:pt>
                <c:pt idx="29">
                  <c:v>684</c:v>
                </c:pt>
                <c:pt idx="30">
                  <c:v>611</c:v>
                </c:pt>
                <c:pt idx="31">
                  <c:v>118</c:v>
                </c:pt>
                <c:pt idx="32">
                  <c:v>277</c:v>
                </c:pt>
                <c:pt idx="33">
                  <c:v>156</c:v>
                </c:pt>
                <c:pt idx="34">
                  <c:v>555</c:v>
                </c:pt>
                <c:pt idx="35">
                  <c:v>664</c:v>
                </c:pt>
                <c:pt idx="36">
                  <c:v>798</c:v>
                </c:pt>
                <c:pt idx="37">
                  <c:v>614</c:v>
                </c:pt>
                <c:pt idx="38">
                  <c:v>646</c:v>
                </c:pt>
                <c:pt idx="39">
                  <c:v>257</c:v>
                </c:pt>
                <c:pt idx="40">
                  <c:v>131</c:v>
                </c:pt>
                <c:pt idx="41">
                  <c:v>544</c:v>
                </c:pt>
                <c:pt idx="42">
                  <c:v>556</c:v>
                </c:pt>
                <c:pt idx="43">
                  <c:v>512</c:v>
                </c:pt>
                <c:pt idx="44">
                  <c:v>320</c:v>
                </c:pt>
                <c:pt idx="45">
                  <c:v>550</c:v>
                </c:pt>
                <c:pt idx="46">
                  <c:v>148</c:v>
                </c:pt>
                <c:pt idx="47">
                  <c:v>113</c:v>
                </c:pt>
                <c:pt idx="48">
                  <c:v>446</c:v>
                </c:pt>
                <c:pt idx="49">
                  <c:v>572</c:v>
                </c:pt>
                <c:pt idx="50">
                  <c:v>486</c:v>
                </c:pt>
                <c:pt idx="51">
                  <c:v>458</c:v>
                </c:pt>
                <c:pt idx="52">
                  <c:v>574</c:v>
                </c:pt>
                <c:pt idx="53">
                  <c:v>166</c:v>
                </c:pt>
                <c:pt idx="54">
                  <c:v>71</c:v>
                </c:pt>
                <c:pt idx="55">
                  <c:v>405</c:v>
                </c:pt>
                <c:pt idx="56">
                  <c:v>470</c:v>
                </c:pt>
                <c:pt idx="57">
                  <c:v>640</c:v>
                </c:pt>
                <c:pt idx="58">
                  <c:v>517</c:v>
                </c:pt>
                <c:pt idx="59">
                  <c:v>658</c:v>
                </c:pt>
                <c:pt idx="60">
                  <c:v>126</c:v>
                </c:pt>
                <c:pt idx="61">
                  <c:v>127</c:v>
                </c:pt>
                <c:pt idx="62">
                  <c:v>512</c:v>
                </c:pt>
                <c:pt idx="63">
                  <c:v>651</c:v>
                </c:pt>
                <c:pt idx="64">
                  <c:v>770</c:v>
                </c:pt>
                <c:pt idx="65">
                  <c:v>772</c:v>
                </c:pt>
                <c:pt idx="66">
                  <c:v>750</c:v>
                </c:pt>
                <c:pt idx="67">
                  <c:v>210</c:v>
                </c:pt>
                <c:pt idx="68">
                  <c:v>94</c:v>
                </c:pt>
                <c:pt idx="69">
                  <c:v>620</c:v>
                </c:pt>
                <c:pt idx="70">
                  <c:v>852</c:v>
                </c:pt>
                <c:pt idx="71">
                  <c:v>689</c:v>
                </c:pt>
                <c:pt idx="72">
                  <c:v>801</c:v>
                </c:pt>
                <c:pt idx="73">
                  <c:v>847</c:v>
                </c:pt>
                <c:pt idx="74">
                  <c:v>311</c:v>
                </c:pt>
                <c:pt idx="75">
                  <c:v>153</c:v>
                </c:pt>
                <c:pt idx="76">
                  <c:v>791</c:v>
                </c:pt>
                <c:pt idx="77">
                  <c:v>1122</c:v>
                </c:pt>
                <c:pt idx="78">
                  <c:v>1039</c:v>
                </c:pt>
                <c:pt idx="79">
                  <c:v>1102</c:v>
                </c:pt>
                <c:pt idx="80">
                  <c:v>1186</c:v>
                </c:pt>
                <c:pt idx="81">
                  <c:v>476</c:v>
                </c:pt>
                <c:pt idx="82">
                  <c:v>261</c:v>
                </c:pt>
                <c:pt idx="83">
                  <c:v>980</c:v>
                </c:pt>
                <c:pt idx="84">
                  <c:v>1545</c:v>
                </c:pt>
                <c:pt idx="85">
                  <c:v>1446</c:v>
                </c:pt>
                <c:pt idx="86">
                  <c:v>1286</c:v>
                </c:pt>
                <c:pt idx="87">
                  <c:v>1520</c:v>
                </c:pt>
                <c:pt idx="88">
                  <c:v>496</c:v>
                </c:pt>
                <c:pt idx="89">
                  <c:v>208</c:v>
                </c:pt>
                <c:pt idx="90">
                  <c:v>1008</c:v>
                </c:pt>
                <c:pt idx="91">
                  <c:v>1594</c:v>
                </c:pt>
                <c:pt idx="92">
                  <c:v>1269</c:v>
                </c:pt>
                <c:pt idx="93">
                  <c:v>1170</c:v>
                </c:pt>
                <c:pt idx="94">
                  <c:v>1248</c:v>
                </c:pt>
                <c:pt idx="95">
                  <c:v>445</c:v>
                </c:pt>
                <c:pt idx="96">
                  <c:v>174</c:v>
                </c:pt>
                <c:pt idx="97">
                  <c:v>797</c:v>
                </c:pt>
                <c:pt idx="98">
                  <c:v>1363</c:v>
                </c:pt>
                <c:pt idx="99">
                  <c:v>1231</c:v>
                </c:pt>
                <c:pt idx="100">
                  <c:v>825</c:v>
                </c:pt>
                <c:pt idx="101">
                  <c:v>1067</c:v>
                </c:pt>
                <c:pt idx="102">
                  <c:v>245</c:v>
                </c:pt>
                <c:pt idx="103">
                  <c:v>316</c:v>
                </c:pt>
                <c:pt idx="104">
                  <c:v>672</c:v>
                </c:pt>
                <c:pt idx="105">
                  <c:v>1070</c:v>
                </c:pt>
                <c:pt idx="106">
                  <c:v>800</c:v>
                </c:pt>
                <c:pt idx="107">
                  <c:v>679</c:v>
                </c:pt>
                <c:pt idx="108">
                  <c:v>636</c:v>
                </c:pt>
                <c:pt idx="109">
                  <c:v>198</c:v>
                </c:pt>
                <c:pt idx="110">
                  <c:v>153</c:v>
                </c:pt>
                <c:pt idx="111">
                  <c:v>479</c:v>
                </c:pt>
                <c:pt idx="112">
                  <c:v>545</c:v>
                </c:pt>
                <c:pt idx="113">
                  <c:v>565</c:v>
                </c:pt>
                <c:pt idx="114">
                  <c:v>375</c:v>
                </c:pt>
                <c:pt idx="115">
                  <c:v>477</c:v>
                </c:pt>
                <c:pt idx="116">
                  <c:v>120</c:v>
                </c:pt>
                <c:pt idx="117">
                  <c:v>84</c:v>
                </c:pt>
                <c:pt idx="118">
                  <c:v>346</c:v>
                </c:pt>
                <c:pt idx="119">
                  <c:v>389</c:v>
                </c:pt>
                <c:pt idx="120">
                  <c:v>359</c:v>
                </c:pt>
                <c:pt idx="121">
                  <c:v>319</c:v>
                </c:pt>
                <c:pt idx="122">
                  <c:v>161</c:v>
                </c:pt>
                <c:pt idx="123">
                  <c:v>47</c:v>
                </c:pt>
                <c:pt idx="124">
                  <c:v>74</c:v>
                </c:pt>
                <c:pt idx="125">
                  <c:v>32</c:v>
                </c:pt>
                <c:pt idx="126">
                  <c:v>260</c:v>
                </c:pt>
                <c:pt idx="127">
                  <c:v>276</c:v>
                </c:pt>
                <c:pt idx="128">
                  <c:v>206</c:v>
                </c:pt>
                <c:pt idx="129">
                  <c:v>193</c:v>
                </c:pt>
                <c:pt idx="130">
                  <c:v>58</c:v>
                </c:pt>
                <c:pt idx="131">
                  <c:v>35</c:v>
                </c:pt>
                <c:pt idx="132">
                  <c:v>185</c:v>
                </c:pt>
                <c:pt idx="133">
                  <c:v>156</c:v>
                </c:pt>
                <c:pt idx="134">
                  <c:v>92</c:v>
                </c:pt>
                <c:pt idx="135">
                  <c:v>100</c:v>
                </c:pt>
                <c:pt idx="136">
                  <c:v>129</c:v>
                </c:pt>
                <c:pt idx="137">
                  <c:v>40</c:v>
                </c:pt>
                <c:pt idx="138">
                  <c:v>21</c:v>
                </c:pt>
                <c:pt idx="139">
                  <c:v>133</c:v>
                </c:pt>
                <c:pt idx="140">
                  <c:v>128</c:v>
                </c:pt>
                <c:pt idx="141">
                  <c:v>106</c:v>
                </c:pt>
                <c:pt idx="142">
                  <c:v>81</c:v>
                </c:pt>
                <c:pt idx="143">
                  <c:v>93</c:v>
                </c:pt>
                <c:pt idx="144">
                  <c:v>48</c:v>
                </c:pt>
                <c:pt idx="145">
                  <c:v>20</c:v>
                </c:pt>
                <c:pt idx="146">
                  <c:v>125</c:v>
                </c:pt>
                <c:pt idx="147">
                  <c:v>109</c:v>
                </c:pt>
                <c:pt idx="148">
                  <c:v>106</c:v>
                </c:pt>
                <c:pt idx="149">
                  <c:v>65</c:v>
                </c:pt>
                <c:pt idx="150">
                  <c:v>74</c:v>
                </c:pt>
                <c:pt idx="151">
                  <c:v>34</c:v>
                </c:pt>
                <c:pt idx="152">
                  <c:v>12</c:v>
                </c:pt>
                <c:pt idx="153">
                  <c:v>54</c:v>
                </c:pt>
                <c:pt idx="154">
                  <c:v>101</c:v>
                </c:pt>
                <c:pt idx="155">
                  <c:v>65</c:v>
                </c:pt>
                <c:pt idx="156">
                  <c:v>57</c:v>
                </c:pt>
                <c:pt idx="157">
                  <c:v>66</c:v>
                </c:pt>
                <c:pt idx="158">
                  <c:v>11</c:v>
                </c:pt>
                <c:pt idx="159">
                  <c:v>18</c:v>
                </c:pt>
                <c:pt idx="160">
                  <c:v>55</c:v>
                </c:pt>
                <c:pt idx="161">
                  <c:v>43</c:v>
                </c:pt>
                <c:pt idx="162">
                  <c:v>43</c:v>
                </c:pt>
                <c:pt idx="163">
                  <c:v>33</c:v>
                </c:pt>
                <c:pt idx="164">
                  <c:v>31</c:v>
                </c:pt>
                <c:pt idx="165">
                  <c:v>9</c:v>
                </c:pt>
                <c:pt idx="166">
                  <c:v>9</c:v>
                </c:pt>
                <c:pt idx="167">
                  <c:v>49</c:v>
                </c:pt>
                <c:pt idx="168">
                  <c:v>41</c:v>
                </c:pt>
                <c:pt idx="169">
                  <c:v>29</c:v>
                </c:pt>
                <c:pt idx="170">
                  <c:v>29</c:v>
                </c:pt>
                <c:pt idx="171">
                  <c:v>25</c:v>
                </c:pt>
                <c:pt idx="172">
                  <c:v>8</c:v>
                </c:pt>
                <c:pt idx="173">
                  <c:v>10</c:v>
                </c:pt>
                <c:pt idx="174">
                  <c:v>42</c:v>
                </c:pt>
                <c:pt idx="175">
                  <c:v>34</c:v>
                </c:pt>
                <c:pt idx="176">
                  <c:v>20</c:v>
                </c:pt>
                <c:pt idx="177">
                  <c:v>25</c:v>
                </c:pt>
                <c:pt idx="178">
                  <c:v>22</c:v>
                </c:pt>
                <c:pt idx="179">
                  <c:v>9</c:v>
                </c:pt>
                <c:pt idx="18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61F-4BF3-B4EC-6DB3BC1760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4</c:v>
                </c:pt>
                <c:pt idx="169">
                  <c:v>42</c:v>
                </c:pt>
                <c:pt idx="170">
                  <c:v>40</c:v>
                </c:pt>
                <c:pt idx="171">
                  <c:v>38</c:v>
                </c:pt>
                <c:pt idx="172">
                  <c:v>36</c:v>
                </c:pt>
                <c:pt idx="173">
                  <c:v>35</c:v>
                </c:pt>
                <c:pt idx="174">
                  <c:v>33</c:v>
                </c:pt>
                <c:pt idx="175">
                  <c:v>31</c:v>
                </c:pt>
                <c:pt idx="176">
                  <c:v>30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24</c:v>
                </c:pt>
                <c:pt idx="181">
                  <c:v>23</c:v>
                </c:pt>
                <c:pt idx="182">
                  <c:v>21</c:v>
                </c:pt>
                <c:pt idx="183">
                  <c:v>20</c:v>
                </c:pt>
                <c:pt idx="184">
                  <c:v>19</c:v>
                </c:pt>
                <c:pt idx="185">
                  <c:v>18</c:v>
                </c:pt>
                <c:pt idx="186">
                  <c:v>17</c:v>
                </c:pt>
                <c:pt idx="187">
                  <c:v>16</c:v>
                </c:pt>
                <c:pt idx="188">
                  <c:v>15</c:v>
                </c:pt>
                <c:pt idx="189">
                  <c:v>14</c:v>
                </c:pt>
                <c:pt idx="190">
                  <c:v>13</c:v>
                </c:pt>
                <c:pt idx="191">
                  <c:v>12</c:v>
                </c:pt>
                <c:pt idx="192">
                  <c:v>12</c:v>
                </c:pt>
                <c:pt idx="193">
                  <c:v>11</c:v>
                </c:pt>
                <c:pt idx="194">
                  <c:v>10</c:v>
                </c:pt>
                <c:pt idx="195">
                  <c:v>10</c:v>
                </c:pt>
                <c:pt idx="196">
                  <c:v>9</c:v>
                </c:pt>
                <c:pt idx="197">
                  <c:v>9</c:v>
                </c:pt>
                <c:pt idx="198">
                  <c:v>8</c:v>
                </c:pt>
                <c:pt idx="199">
                  <c:v>8</c:v>
                </c:pt>
                <c:pt idx="200">
                  <c:v>7</c:v>
                </c:pt>
                <c:pt idx="201">
                  <c:v>7</c:v>
                </c:pt>
                <c:pt idx="202">
                  <c:v>6</c:v>
                </c:pt>
                <c:pt idx="203">
                  <c:v>6</c:v>
                </c:pt>
                <c:pt idx="204">
                  <c:v>5</c:v>
                </c:pt>
                <c:pt idx="205">
                  <c:v>5</c:v>
                </c:pt>
                <c:pt idx="206">
                  <c:v>5</c:v>
                </c:pt>
                <c:pt idx="207">
                  <c:v>4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3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61F-4BF3-B4EC-6DB3BC1760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5</c:v>
                </c:pt>
                <c:pt idx="169">
                  <c:v>44</c:v>
                </c:pt>
                <c:pt idx="170">
                  <c:v>44</c:v>
                </c:pt>
                <c:pt idx="171">
                  <c:v>44</c:v>
                </c:pt>
                <c:pt idx="172">
                  <c:v>44</c:v>
                </c:pt>
                <c:pt idx="173">
                  <c:v>44</c:v>
                </c:pt>
                <c:pt idx="174">
                  <c:v>44</c:v>
                </c:pt>
                <c:pt idx="175">
                  <c:v>44</c:v>
                </c:pt>
                <c:pt idx="176">
                  <c:v>45</c:v>
                </c:pt>
                <c:pt idx="177">
                  <c:v>46</c:v>
                </c:pt>
                <c:pt idx="178">
                  <c:v>47</c:v>
                </c:pt>
                <c:pt idx="179">
                  <c:v>49</c:v>
                </c:pt>
                <c:pt idx="180">
                  <c:v>50</c:v>
                </c:pt>
                <c:pt idx="181">
                  <c:v>51</c:v>
                </c:pt>
                <c:pt idx="182">
                  <c:v>52</c:v>
                </c:pt>
                <c:pt idx="183">
                  <c:v>53</c:v>
                </c:pt>
                <c:pt idx="184">
                  <c:v>55</c:v>
                </c:pt>
                <c:pt idx="185">
                  <c:v>56</c:v>
                </c:pt>
                <c:pt idx="186">
                  <c:v>57</c:v>
                </c:pt>
                <c:pt idx="187">
                  <c:v>59</c:v>
                </c:pt>
                <c:pt idx="188">
                  <c:v>60</c:v>
                </c:pt>
                <c:pt idx="189">
                  <c:v>61</c:v>
                </c:pt>
                <c:pt idx="190">
                  <c:v>63</c:v>
                </c:pt>
                <c:pt idx="191">
                  <c:v>64</c:v>
                </c:pt>
                <c:pt idx="192">
                  <c:v>66</c:v>
                </c:pt>
                <c:pt idx="193">
                  <c:v>67</c:v>
                </c:pt>
                <c:pt idx="194">
                  <c:v>68</c:v>
                </c:pt>
                <c:pt idx="195">
                  <c:v>70</c:v>
                </c:pt>
                <c:pt idx="196">
                  <c:v>71</c:v>
                </c:pt>
                <c:pt idx="197">
                  <c:v>72</c:v>
                </c:pt>
                <c:pt idx="198">
                  <c:v>73</c:v>
                </c:pt>
                <c:pt idx="199">
                  <c:v>74</c:v>
                </c:pt>
                <c:pt idx="200">
                  <c:v>75</c:v>
                </c:pt>
                <c:pt idx="201">
                  <c:v>76</c:v>
                </c:pt>
                <c:pt idx="202">
                  <c:v>77</c:v>
                </c:pt>
                <c:pt idx="203">
                  <c:v>77</c:v>
                </c:pt>
                <c:pt idx="204">
                  <c:v>78</c:v>
                </c:pt>
                <c:pt idx="205">
                  <c:v>78</c:v>
                </c:pt>
                <c:pt idx="206">
                  <c:v>78</c:v>
                </c:pt>
                <c:pt idx="207">
                  <c:v>79</c:v>
                </c:pt>
                <c:pt idx="208">
                  <c:v>79</c:v>
                </c:pt>
                <c:pt idx="209">
                  <c:v>79</c:v>
                </c:pt>
                <c:pt idx="210">
                  <c:v>78</c:v>
                </c:pt>
                <c:pt idx="211">
                  <c:v>78</c:v>
                </c:pt>
                <c:pt idx="212">
                  <c:v>78</c:v>
                </c:pt>
                <c:pt idx="213">
                  <c:v>77</c:v>
                </c:pt>
                <c:pt idx="214">
                  <c:v>76</c:v>
                </c:pt>
                <c:pt idx="215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1F-4BF3-B4EC-6DB3BC1760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61F-4BF3-B4EC-6DB3BC17602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78</c:v>
                </c:pt>
                <c:pt idx="1">
                  <c:v>183</c:v>
                </c:pt>
                <c:pt idx="2">
                  <c:v>87</c:v>
                </c:pt>
                <c:pt idx="3">
                  <c:v>112</c:v>
                </c:pt>
                <c:pt idx="4">
                  <c:v>123</c:v>
                </c:pt>
                <c:pt idx="5">
                  <c:v>15</c:v>
                </c:pt>
                <c:pt idx="6">
                  <c:v>125</c:v>
                </c:pt>
                <c:pt idx="7">
                  <c:v>16</c:v>
                </c:pt>
                <c:pt idx="8">
                  <c:v>166</c:v>
                </c:pt>
                <c:pt idx="9">
                  <c:v>199</c:v>
                </c:pt>
                <c:pt idx="10">
                  <c:v>41</c:v>
                </c:pt>
                <c:pt idx="11">
                  <c:v>96</c:v>
                </c:pt>
                <c:pt idx="12">
                  <c:v>60</c:v>
                </c:pt>
                <c:pt idx="13">
                  <c:v>47</c:v>
                </c:pt>
                <c:pt idx="14">
                  <c:v>121</c:v>
                </c:pt>
                <c:pt idx="15">
                  <c:v>202</c:v>
                </c:pt>
                <c:pt idx="16">
                  <c:v>251</c:v>
                </c:pt>
                <c:pt idx="17">
                  <c:v>205</c:v>
                </c:pt>
                <c:pt idx="18">
                  <c:v>79</c:v>
                </c:pt>
                <c:pt idx="19">
                  <c:v>32</c:v>
                </c:pt>
                <c:pt idx="20">
                  <c:v>235</c:v>
                </c:pt>
                <c:pt idx="21">
                  <c:v>291</c:v>
                </c:pt>
                <c:pt idx="22">
                  <c:v>92</c:v>
                </c:pt>
                <c:pt idx="23">
                  <c:v>206</c:v>
                </c:pt>
                <c:pt idx="24">
                  <c:v>33</c:v>
                </c:pt>
                <c:pt idx="25">
                  <c:v>17</c:v>
                </c:pt>
                <c:pt idx="26">
                  <c:v>12</c:v>
                </c:pt>
                <c:pt idx="27">
                  <c:v>246</c:v>
                </c:pt>
                <c:pt idx="28">
                  <c:v>231</c:v>
                </c:pt>
                <c:pt idx="29">
                  <c:v>488</c:v>
                </c:pt>
                <c:pt idx="30">
                  <c:v>376</c:v>
                </c:pt>
                <c:pt idx="31">
                  <c:v>248</c:v>
                </c:pt>
                <c:pt idx="32">
                  <c:v>67</c:v>
                </c:pt>
                <c:pt idx="33">
                  <c:v>55</c:v>
                </c:pt>
                <c:pt idx="34">
                  <c:v>182</c:v>
                </c:pt>
                <c:pt idx="35">
                  <c:v>414</c:v>
                </c:pt>
                <c:pt idx="36">
                  <c:v>556</c:v>
                </c:pt>
                <c:pt idx="37">
                  <c:v>370</c:v>
                </c:pt>
                <c:pt idx="38">
                  <c:v>413</c:v>
                </c:pt>
                <c:pt idx="39">
                  <c:v>461</c:v>
                </c:pt>
                <c:pt idx="40">
                  <c:v>46</c:v>
                </c:pt>
                <c:pt idx="41">
                  <c:v>81</c:v>
                </c:pt>
                <c:pt idx="42">
                  <c:v>308</c:v>
                </c:pt>
                <c:pt idx="43">
                  <c:v>431</c:v>
                </c:pt>
                <c:pt idx="44">
                  <c:v>391</c:v>
                </c:pt>
                <c:pt idx="45">
                  <c:v>295</c:v>
                </c:pt>
                <c:pt idx="46">
                  <c:v>382</c:v>
                </c:pt>
                <c:pt idx="47">
                  <c:v>10</c:v>
                </c:pt>
                <c:pt idx="48">
                  <c:v>119</c:v>
                </c:pt>
                <c:pt idx="49">
                  <c:v>820</c:v>
                </c:pt>
                <c:pt idx="50">
                  <c:v>137</c:v>
                </c:pt>
                <c:pt idx="51">
                  <c:v>428</c:v>
                </c:pt>
                <c:pt idx="52">
                  <c:v>483</c:v>
                </c:pt>
                <c:pt idx="53">
                  <c:v>319</c:v>
                </c:pt>
                <c:pt idx="54">
                  <c:v>134</c:v>
                </c:pt>
                <c:pt idx="55">
                  <c:v>179</c:v>
                </c:pt>
                <c:pt idx="56">
                  <c:v>505</c:v>
                </c:pt>
                <c:pt idx="57">
                  <c:v>531</c:v>
                </c:pt>
                <c:pt idx="58">
                  <c:v>795</c:v>
                </c:pt>
                <c:pt idx="59">
                  <c:v>472</c:v>
                </c:pt>
                <c:pt idx="60">
                  <c:v>405</c:v>
                </c:pt>
                <c:pt idx="61">
                  <c:v>286</c:v>
                </c:pt>
                <c:pt idx="62">
                  <c:v>346</c:v>
                </c:pt>
                <c:pt idx="63">
                  <c:v>539</c:v>
                </c:pt>
                <c:pt idx="64">
                  <c:v>850</c:v>
                </c:pt>
                <c:pt idx="65">
                  <c:v>334</c:v>
                </c:pt>
                <c:pt idx="66">
                  <c:v>586</c:v>
                </c:pt>
                <c:pt idx="67">
                  <c:v>593</c:v>
                </c:pt>
                <c:pt idx="68">
                  <c:v>158</c:v>
                </c:pt>
                <c:pt idx="69">
                  <c:v>149</c:v>
                </c:pt>
                <c:pt idx="70">
                  <c:v>773</c:v>
                </c:pt>
                <c:pt idx="71">
                  <c:v>699</c:v>
                </c:pt>
                <c:pt idx="72">
                  <c:v>445</c:v>
                </c:pt>
                <c:pt idx="73">
                  <c:v>646</c:v>
                </c:pt>
                <c:pt idx="74">
                  <c:v>240</c:v>
                </c:pt>
                <c:pt idx="75">
                  <c:v>33</c:v>
                </c:pt>
                <c:pt idx="76">
                  <c:v>212</c:v>
                </c:pt>
                <c:pt idx="77">
                  <c:v>968</c:v>
                </c:pt>
                <c:pt idx="78">
                  <c:v>648</c:v>
                </c:pt>
                <c:pt idx="79">
                  <c:v>718</c:v>
                </c:pt>
                <c:pt idx="80">
                  <c:v>318</c:v>
                </c:pt>
                <c:pt idx="81">
                  <c:v>392</c:v>
                </c:pt>
                <c:pt idx="82">
                  <c:v>48</c:v>
                </c:pt>
                <c:pt idx="83">
                  <c:v>403</c:v>
                </c:pt>
                <c:pt idx="84">
                  <c:v>961</c:v>
                </c:pt>
                <c:pt idx="85">
                  <c:v>327</c:v>
                </c:pt>
                <c:pt idx="86">
                  <c:v>1001</c:v>
                </c:pt>
                <c:pt idx="87">
                  <c:v>512</c:v>
                </c:pt>
                <c:pt idx="88">
                  <c:v>138</c:v>
                </c:pt>
                <c:pt idx="89">
                  <c:v>58</c:v>
                </c:pt>
                <c:pt idx="90">
                  <c:v>474</c:v>
                </c:pt>
                <c:pt idx="91">
                  <c:v>501</c:v>
                </c:pt>
                <c:pt idx="92">
                  <c:v>528</c:v>
                </c:pt>
                <c:pt idx="93">
                  <c:v>342</c:v>
                </c:pt>
                <c:pt idx="94">
                  <c:v>315</c:v>
                </c:pt>
                <c:pt idx="95">
                  <c:v>137</c:v>
                </c:pt>
                <c:pt idx="96">
                  <c:v>27</c:v>
                </c:pt>
                <c:pt idx="97">
                  <c:v>68</c:v>
                </c:pt>
                <c:pt idx="98">
                  <c:v>357</c:v>
                </c:pt>
                <c:pt idx="99">
                  <c:v>541</c:v>
                </c:pt>
                <c:pt idx="100">
                  <c:v>210</c:v>
                </c:pt>
                <c:pt idx="101">
                  <c:v>93</c:v>
                </c:pt>
                <c:pt idx="102">
                  <c:v>192</c:v>
                </c:pt>
                <c:pt idx="103">
                  <c:v>109</c:v>
                </c:pt>
                <c:pt idx="104">
                  <c:v>43</c:v>
                </c:pt>
                <c:pt idx="105">
                  <c:v>250</c:v>
                </c:pt>
                <c:pt idx="106">
                  <c:v>217</c:v>
                </c:pt>
                <c:pt idx="107">
                  <c:v>234</c:v>
                </c:pt>
                <c:pt idx="108">
                  <c:v>72</c:v>
                </c:pt>
                <c:pt idx="109">
                  <c:v>136</c:v>
                </c:pt>
                <c:pt idx="110">
                  <c:v>20</c:v>
                </c:pt>
                <c:pt idx="111">
                  <c:v>54</c:v>
                </c:pt>
                <c:pt idx="112">
                  <c:v>107</c:v>
                </c:pt>
                <c:pt idx="113">
                  <c:v>153</c:v>
                </c:pt>
                <c:pt idx="114">
                  <c:v>32</c:v>
                </c:pt>
                <c:pt idx="115">
                  <c:v>111</c:v>
                </c:pt>
                <c:pt idx="116">
                  <c:v>26</c:v>
                </c:pt>
                <c:pt idx="117">
                  <c:v>13</c:v>
                </c:pt>
                <c:pt idx="118">
                  <c:v>48</c:v>
                </c:pt>
                <c:pt idx="119">
                  <c:v>79</c:v>
                </c:pt>
                <c:pt idx="120">
                  <c:v>129</c:v>
                </c:pt>
                <c:pt idx="121">
                  <c:v>13</c:v>
                </c:pt>
                <c:pt idx="122">
                  <c:v>82</c:v>
                </c:pt>
                <c:pt idx="123">
                  <c:v>3</c:v>
                </c:pt>
                <c:pt idx="124">
                  <c:v>2</c:v>
                </c:pt>
                <c:pt idx="125">
                  <c:v>32</c:v>
                </c:pt>
                <c:pt idx="126">
                  <c:v>14</c:v>
                </c:pt>
                <c:pt idx="127">
                  <c:v>74</c:v>
                </c:pt>
                <c:pt idx="128">
                  <c:v>56</c:v>
                </c:pt>
                <c:pt idx="129">
                  <c:v>75</c:v>
                </c:pt>
                <c:pt idx="130">
                  <c:v>5</c:v>
                </c:pt>
                <c:pt idx="131">
                  <c:v>14</c:v>
                </c:pt>
                <c:pt idx="132">
                  <c:v>45</c:v>
                </c:pt>
                <c:pt idx="133">
                  <c:v>63</c:v>
                </c:pt>
                <c:pt idx="134">
                  <c:v>9</c:v>
                </c:pt>
                <c:pt idx="135">
                  <c:v>26</c:v>
                </c:pt>
                <c:pt idx="136">
                  <c:v>37</c:v>
                </c:pt>
                <c:pt idx="137">
                  <c:v>3</c:v>
                </c:pt>
                <c:pt idx="138">
                  <c:v>11</c:v>
                </c:pt>
                <c:pt idx="139">
                  <c:v>41</c:v>
                </c:pt>
                <c:pt idx="140">
                  <c:v>10</c:v>
                </c:pt>
                <c:pt idx="141">
                  <c:v>39</c:v>
                </c:pt>
                <c:pt idx="142">
                  <c:v>4</c:v>
                </c:pt>
                <c:pt idx="143">
                  <c:v>21</c:v>
                </c:pt>
                <c:pt idx="144">
                  <c:v>18</c:v>
                </c:pt>
                <c:pt idx="145">
                  <c:v>0</c:v>
                </c:pt>
                <c:pt idx="146">
                  <c:v>26</c:v>
                </c:pt>
                <c:pt idx="147">
                  <c:v>6</c:v>
                </c:pt>
                <c:pt idx="148">
                  <c:v>74</c:v>
                </c:pt>
                <c:pt idx="149">
                  <c:v>9</c:v>
                </c:pt>
                <c:pt idx="150">
                  <c:v>16</c:v>
                </c:pt>
                <c:pt idx="151">
                  <c:v>26</c:v>
                </c:pt>
                <c:pt idx="152">
                  <c:v>1</c:v>
                </c:pt>
                <c:pt idx="153">
                  <c:v>8</c:v>
                </c:pt>
                <c:pt idx="154">
                  <c:v>23</c:v>
                </c:pt>
                <c:pt idx="155">
                  <c:v>34</c:v>
                </c:pt>
                <c:pt idx="156">
                  <c:v>8</c:v>
                </c:pt>
                <c:pt idx="157">
                  <c:v>14</c:v>
                </c:pt>
                <c:pt idx="158">
                  <c:v>11</c:v>
                </c:pt>
                <c:pt idx="159">
                  <c:v>1</c:v>
                </c:pt>
                <c:pt idx="160">
                  <c:v>26</c:v>
                </c:pt>
                <c:pt idx="161">
                  <c:v>8</c:v>
                </c:pt>
                <c:pt idx="162">
                  <c:v>21</c:v>
                </c:pt>
                <c:pt idx="163">
                  <c:v>12</c:v>
                </c:pt>
                <c:pt idx="164">
                  <c:v>7</c:v>
                </c:pt>
                <c:pt idx="165">
                  <c:v>16</c:v>
                </c:pt>
                <c:pt idx="166">
                  <c:v>0</c:v>
                </c:pt>
                <c:pt idx="167">
                  <c:v>15</c:v>
                </c:pt>
                <c:pt idx="168">
                  <c:v>20</c:v>
                </c:pt>
                <c:pt idx="169">
                  <c:v>3</c:v>
                </c:pt>
                <c:pt idx="170">
                  <c:v>1</c:v>
                </c:pt>
                <c:pt idx="171">
                  <c:v>5</c:v>
                </c:pt>
                <c:pt idx="172">
                  <c:v>0</c:v>
                </c:pt>
                <c:pt idx="173">
                  <c:v>0</c:v>
                </c:pt>
                <c:pt idx="174">
                  <c:v>2</c:v>
                </c:pt>
                <c:pt idx="175">
                  <c:v>2</c:v>
                </c:pt>
                <c:pt idx="176">
                  <c:v>3</c:v>
                </c:pt>
                <c:pt idx="177">
                  <c:v>3</c:v>
                </c:pt>
                <c:pt idx="178">
                  <c:v>7</c:v>
                </c:pt>
                <c:pt idx="179">
                  <c:v>0</c:v>
                </c:pt>
                <c:pt idx="18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5D-436A-B994-3147B2A502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5D-436A-B994-3147B2A50278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406</c:v>
                </c:pt>
                <c:pt idx="89">
                  <c:v>413</c:v>
                </c:pt>
                <c:pt idx="90">
                  <c:v>419</c:v>
                </c:pt>
                <c:pt idx="91">
                  <c:v>424</c:v>
                </c:pt>
                <c:pt idx="92">
                  <c:v>429</c:v>
                </c:pt>
                <c:pt idx="93">
                  <c:v>434</c:v>
                </c:pt>
                <c:pt idx="94">
                  <c:v>438</c:v>
                </c:pt>
                <c:pt idx="95">
                  <c:v>442</c:v>
                </c:pt>
                <c:pt idx="96">
                  <c:v>445</c:v>
                </c:pt>
                <c:pt idx="97">
                  <c:v>449</c:v>
                </c:pt>
                <c:pt idx="98">
                  <c:v>452</c:v>
                </c:pt>
                <c:pt idx="99">
                  <c:v>455</c:v>
                </c:pt>
                <c:pt idx="100">
                  <c:v>457</c:v>
                </c:pt>
                <c:pt idx="101">
                  <c:v>460</c:v>
                </c:pt>
                <c:pt idx="102">
                  <c:v>462</c:v>
                </c:pt>
                <c:pt idx="103">
                  <c:v>464</c:v>
                </c:pt>
                <c:pt idx="104">
                  <c:v>466</c:v>
                </c:pt>
                <c:pt idx="105">
                  <c:v>468</c:v>
                </c:pt>
                <c:pt idx="106">
                  <c:v>469</c:v>
                </c:pt>
                <c:pt idx="107">
                  <c:v>470</c:v>
                </c:pt>
                <c:pt idx="108">
                  <c:v>471</c:v>
                </c:pt>
                <c:pt idx="109">
                  <c:v>472</c:v>
                </c:pt>
                <c:pt idx="110">
                  <c:v>473</c:v>
                </c:pt>
                <c:pt idx="111">
                  <c:v>473</c:v>
                </c:pt>
                <c:pt idx="112">
                  <c:v>474</c:v>
                </c:pt>
                <c:pt idx="113">
                  <c:v>474</c:v>
                </c:pt>
                <c:pt idx="114">
                  <c:v>474</c:v>
                </c:pt>
                <c:pt idx="115">
                  <c:v>473</c:v>
                </c:pt>
                <c:pt idx="116">
                  <c:v>473</c:v>
                </c:pt>
                <c:pt idx="117">
                  <c:v>472</c:v>
                </c:pt>
                <c:pt idx="118">
                  <c:v>472</c:v>
                </c:pt>
                <c:pt idx="119">
                  <c:v>471</c:v>
                </c:pt>
                <c:pt idx="120">
                  <c:v>469</c:v>
                </c:pt>
                <c:pt idx="121">
                  <c:v>468</c:v>
                </c:pt>
                <c:pt idx="122">
                  <c:v>467</c:v>
                </c:pt>
                <c:pt idx="123">
                  <c:v>465</c:v>
                </c:pt>
                <c:pt idx="124">
                  <c:v>463</c:v>
                </c:pt>
                <c:pt idx="125">
                  <c:v>461</c:v>
                </c:pt>
                <c:pt idx="126">
                  <c:v>459</c:v>
                </c:pt>
                <c:pt idx="127">
                  <c:v>457</c:v>
                </c:pt>
                <c:pt idx="128">
                  <c:v>454</c:v>
                </c:pt>
                <c:pt idx="129">
                  <c:v>451</c:v>
                </c:pt>
                <c:pt idx="130">
                  <c:v>449</c:v>
                </c:pt>
                <c:pt idx="131">
                  <c:v>446</c:v>
                </c:pt>
                <c:pt idx="132">
                  <c:v>443</c:v>
                </c:pt>
                <c:pt idx="133">
                  <c:v>440</c:v>
                </c:pt>
                <c:pt idx="134">
                  <c:v>436</c:v>
                </c:pt>
                <c:pt idx="135">
                  <c:v>433</c:v>
                </c:pt>
                <c:pt idx="136">
                  <c:v>429</c:v>
                </c:pt>
                <c:pt idx="137">
                  <c:v>426</c:v>
                </c:pt>
                <c:pt idx="138">
                  <c:v>422</c:v>
                </c:pt>
                <c:pt idx="139">
                  <c:v>418</c:v>
                </c:pt>
                <c:pt idx="140">
                  <c:v>414</c:v>
                </c:pt>
                <c:pt idx="141">
                  <c:v>410</c:v>
                </c:pt>
                <c:pt idx="142">
                  <c:v>406</c:v>
                </c:pt>
                <c:pt idx="143">
                  <c:v>402</c:v>
                </c:pt>
                <c:pt idx="144">
                  <c:v>397</c:v>
                </c:pt>
                <c:pt idx="145">
                  <c:v>393</c:v>
                </c:pt>
                <c:pt idx="146">
                  <c:v>389</c:v>
                </c:pt>
                <c:pt idx="147">
                  <c:v>384</c:v>
                </c:pt>
                <c:pt idx="148">
                  <c:v>379</c:v>
                </c:pt>
                <c:pt idx="149">
                  <c:v>375</c:v>
                </c:pt>
                <c:pt idx="150">
                  <c:v>370</c:v>
                </c:pt>
                <c:pt idx="151">
                  <c:v>365</c:v>
                </c:pt>
                <c:pt idx="152">
                  <c:v>361</c:v>
                </c:pt>
                <c:pt idx="153">
                  <c:v>356</c:v>
                </c:pt>
                <c:pt idx="154">
                  <c:v>351</c:v>
                </c:pt>
                <c:pt idx="155">
                  <c:v>346</c:v>
                </c:pt>
                <c:pt idx="156">
                  <c:v>341</c:v>
                </c:pt>
                <c:pt idx="157">
                  <c:v>336</c:v>
                </c:pt>
                <c:pt idx="158">
                  <c:v>331</c:v>
                </c:pt>
                <c:pt idx="159">
                  <c:v>326</c:v>
                </c:pt>
                <c:pt idx="160">
                  <c:v>322</c:v>
                </c:pt>
                <c:pt idx="161">
                  <c:v>317</c:v>
                </c:pt>
                <c:pt idx="162">
                  <c:v>312</c:v>
                </c:pt>
                <c:pt idx="163">
                  <c:v>307</c:v>
                </c:pt>
                <c:pt idx="164">
                  <c:v>302</c:v>
                </c:pt>
                <c:pt idx="165">
                  <c:v>297</c:v>
                </c:pt>
                <c:pt idx="166">
                  <c:v>292</c:v>
                </c:pt>
                <c:pt idx="167">
                  <c:v>287</c:v>
                </c:pt>
                <c:pt idx="168">
                  <c:v>282</c:v>
                </c:pt>
                <c:pt idx="169">
                  <c:v>277</c:v>
                </c:pt>
                <c:pt idx="170">
                  <c:v>272</c:v>
                </c:pt>
                <c:pt idx="171">
                  <c:v>268</c:v>
                </c:pt>
                <c:pt idx="172">
                  <c:v>263</c:v>
                </c:pt>
                <c:pt idx="173">
                  <c:v>258</c:v>
                </c:pt>
                <c:pt idx="174">
                  <c:v>253</c:v>
                </c:pt>
                <c:pt idx="175">
                  <c:v>249</c:v>
                </c:pt>
                <c:pt idx="176">
                  <c:v>244</c:v>
                </c:pt>
                <c:pt idx="177">
                  <c:v>239</c:v>
                </c:pt>
                <c:pt idx="178">
                  <c:v>235</c:v>
                </c:pt>
                <c:pt idx="179">
                  <c:v>230</c:v>
                </c:pt>
                <c:pt idx="180">
                  <c:v>226</c:v>
                </c:pt>
                <c:pt idx="181">
                  <c:v>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5D-436A-B994-3147B2A5027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402</c:v>
                </c:pt>
                <c:pt idx="89">
                  <c:v>403</c:v>
                </c:pt>
                <c:pt idx="90">
                  <c:v>401</c:v>
                </c:pt>
                <c:pt idx="91">
                  <c:v>399</c:v>
                </c:pt>
                <c:pt idx="92">
                  <c:v>395</c:v>
                </c:pt>
                <c:pt idx="93">
                  <c:v>391</c:v>
                </c:pt>
                <c:pt idx="94">
                  <c:v>387</c:v>
                </c:pt>
                <c:pt idx="95">
                  <c:v>382</c:v>
                </c:pt>
                <c:pt idx="96">
                  <c:v>377</c:v>
                </c:pt>
                <c:pt idx="97">
                  <c:v>372</c:v>
                </c:pt>
                <c:pt idx="98">
                  <c:v>367</c:v>
                </c:pt>
                <c:pt idx="99">
                  <c:v>362</c:v>
                </c:pt>
                <c:pt idx="100">
                  <c:v>356</c:v>
                </c:pt>
                <c:pt idx="101">
                  <c:v>351</c:v>
                </c:pt>
                <c:pt idx="102">
                  <c:v>345</c:v>
                </c:pt>
                <c:pt idx="103">
                  <c:v>339</c:v>
                </c:pt>
                <c:pt idx="104">
                  <c:v>334</c:v>
                </c:pt>
                <c:pt idx="105">
                  <c:v>328</c:v>
                </c:pt>
                <c:pt idx="106">
                  <c:v>322</c:v>
                </c:pt>
                <c:pt idx="107">
                  <c:v>317</c:v>
                </c:pt>
                <c:pt idx="108">
                  <c:v>311</c:v>
                </c:pt>
                <c:pt idx="109">
                  <c:v>305</c:v>
                </c:pt>
                <c:pt idx="110">
                  <c:v>300</c:v>
                </c:pt>
                <c:pt idx="111">
                  <c:v>294</c:v>
                </c:pt>
                <c:pt idx="112">
                  <c:v>288</c:v>
                </c:pt>
                <c:pt idx="113">
                  <c:v>283</c:v>
                </c:pt>
                <c:pt idx="114">
                  <c:v>277</c:v>
                </c:pt>
                <c:pt idx="115">
                  <c:v>272</c:v>
                </c:pt>
                <c:pt idx="116">
                  <c:v>266</c:v>
                </c:pt>
                <c:pt idx="117">
                  <c:v>261</c:v>
                </c:pt>
                <c:pt idx="118">
                  <c:v>256</c:v>
                </c:pt>
                <c:pt idx="119">
                  <c:v>250</c:v>
                </c:pt>
                <c:pt idx="120">
                  <c:v>245</c:v>
                </c:pt>
                <c:pt idx="121">
                  <c:v>240</c:v>
                </c:pt>
                <c:pt idx="122">
                  <c:v>235</c:v>
                </c:pt>
                <c:pt idx="123">
                  <c:v>230</c:v>
                </c:pt>
                <c:pt idx="124">
                  <c:v>225</c:v>
                </c:pt>
                <c:pt idx="125">
                  <c:v>220</c:v>
                </c:pt>
                <c:pt idx="126">
                  <c:v>216</c:v>
                </c:pt>
                <c:pt idx="127">
                  <c:v>211</c:v>
                </c:pt>
                <c:pt idx="128">
                  <c:v>206</c:v>
                </c:pt>
                <c:pt idx="129">
                  <c:v>202</c:v>
                </c:pt>
                <c:pt idx="130">
                  <c:v>197</c:v>
                </c:pt>
                <c:pt idx="131">
                  <c:v>193</c:v>
                </c:pt>
                <c:pt idx="132">
                  <c:v>189</c:v>
                </c:pt>
                <c:pt idx="133">
                  <c:v>184</c:v>
                </c:pt>
                <c:pt idx="134">
                  <c:v>180</c:v>
                </c:pt>
                <c:pt idx="135">
                  <c:v>176</c:v>
                </c:pt>
                <c:pt idx="136">
                  <c:v>172</c:v>
                </c:pt>
                <c:pt idx="137">
                  <c:v>168</c:v>
                </c:pt>
                <c:pt idx="138">
                  <c:v>164</c:v>
                </c:pt>
                <c:pt idx="139">
                  <c:v>160</c:v>
                </c:pt>
                <c:pt idx="140">
                  <c:v>157</c:v>
                </c:pt>
                <c:pt idx="141">
                  <c:v>153</c:v>
                </c:pt>
                <c:pt idx="142">
                  <c:v>149</c:v>
                </c:pt>
                <c:pt idx="143">
                  <c:v>146</c:v>
                </c:pt>
                <c:pt idx="144">
                  <c:v>142</c:v>
                </c:pt>
                <c:pt idx="145">
                  <c:v>139</c:v>
                </c:pt>
                <c:pt idx="146">
                  <c:v>136</c:v>
                </c:pt>
                <c:pt idx="147">
                  <c:v>132</c:v>
                </c:pt>
                <c:pt idx="148">
                  <c:v>129</c:v>
                </c:pt>
                <c:pt idx="149">
                  <c:v>126</c:v>
                </c:pt>
                <c:pt idx="150">
                  <c:v>123</c:v>
                </c:pt>
                <c:pt idx="151">
                  <c:v>120</c:v>
                </c:pt>
                <c:pt idx="152">
                  <c:v>117</c:v>
                </c:pt>
                <c:pt idx="153">
                  <c:v>114</c:v>
                </c:pt>
                <c:pt idx="154">
                  <c:v>111</c:v>
                </c:pt>
                <c:pt idx="155">
                  <c:v>109</c:v>
                </c:pt>
                <c:pt idx="156">
                  <c:v>106</c:v>
                </c:pt>
                <c:pt idx="157">
                  <c:v>103</c:v>
                </c:pt>
                <c:pt idx="158">
                  <c:v>101</c:v>
                </c:pt>
                <c:pt idx="159">
                  <c:v>98</c:v>
                </c:pt>
                <c:pt idx="160">
                  <c:v>96</c:v>
                </c:pt>
                <c:pt idx="161">
                  <c:v>94</c:v>
                </c:pt>
                <c:pt idx="162">
                  <c:v>91</c:v>
                </c:pt>
                <c:pt idx="163">
                  <c:v>89</c:v>
                </c:pt>
                <c:pt idx="164">
                  <c:v>87</c:v>
                </c:pt>
                <c:pt idx="165">
                  <c:v>85</c:v>
                </c:pt>
                <c:pt idx="166">
                  <c:v>82</c:v>
                </c:pt>
                <c:pt idx="167">
                  <c:v>80</c:v>
                </c:pt>
                <c:pt idx="168">
                  <c:v>78</c:v>
                </c:pt>
                <c:pt idx="169">
                  <c:v>76</c:v>
                </c:pt>
                <c:pt idx="170">
                  <c:v>74</c:v>
                </c:pt>
                <c:pt idx="171">
                  <c:v>72</c:v>
                </c:pt>
                <c:pt idx="172">
                  <c:v>71</c:v>
                </c:pt>
                <c:pt idx="173">
                  <c:v>69</c:v>
                </c:pt>
                <c:pt idx="174">
                  <c:v>67</c:v>
                </c:pt>
                <c:pt idx="175">
                  <c:v>65</c:v>
                </c:pt>
                <c:pt idx="176">
                  <c:v>64</c:v>
                </c:pt>
                <c:pt idx="177">
                  <c:v>62</c:v>
                </c:pt>
                <c:pt idx="178">
                  <c:v>60</c:v>
                </c:pt>
                <c:pt idx="179">
                  <c:v>59</c:v>
                </c:pt>
                <c:pt idx="180">
                  <c:v>57</c:v>
                </c:pt>
                <c:pt idx="181">
                  <c:v>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5D-436A-B994-3147B2A502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78</c:v>
                </c:pt>
                <c:pt idx="1">
                  <c:v>183</c:v>
                </c:pt>
                <c:pt idx="2">
                  <c:v>87</c:v>
                </c:pt>
                <c:pt idx="3">
                  <c:v>112</c:v>
                </c:pt>
                <c:pt idx="4">
                  <c:v>123</c:v>
                </c:pt>
                <c:pt idx="5">
                  <c:v>15</c:v>
                </c:pt>
                <c:pt idx="6">
                  <c:v>125</c:v>
                </c:pt>
                <c:pt idx="7">
                  <c:v>16</c:v>
                </c:pt>
                <c:pt idx="8">
                  <c:v>166</c:v>
                </c:pt>
                <c:pt idx="9">
                  <c:v>199</c:v>
                </c:pt>
                <c:pt idx="10">
                  <c:v>41</c:v>
                </c:pt>
                <c:pt idx="11">
                  <c:v>96</c:v>
                </c:pt>
                <c:pt idx="12">
                  <c:v>60</c:v>
                </c:pt>
                <c:pt idx="13">
                  <c:v>47</c:v>
                </c:pt>
                <c:pt idx="14">
                  <c:v>121</c:v>
                </c:pt>
                <c:pt idx="15">
                  <c:v>202</c:v>
                </c:pt>
                <c:pt idx="16">
                  <c:v>251</c:v>
                </c:pt>
                <c:pt idx="17">
                  <c:v>205</c:v>
                </c:pt>
                <c:pt idx="18">
                  <c:v>79</c:v>
                </c:pt>
                <c:pt idx="19">
                  <c:v>32</c:v>
                </c:pt>
                <c:pt idx="20">
                  <c:v>235</c:v>
                </c:pt>
                <c:pt idx="21">
                  <c:v>291</c:v>
                </c:pt>
                <c:pt idx="22">
                  <c:v>92</c:v>
                </c:pt>
                <c:pt idx="23">
                  <c:v>206</c:v>
                </c:pt>
                <c:pt idx="24">
                  <c:v>33</c:v>
                </c:pt>
                <c:pt idx="25">
                  <c:v>17</c:v>
                </c:pt>
                <c:pt idx="26">
                  <c:v>12</c:v>
                </c:pt>
                <c:pt idx="27">
                  <c:v>246</c:v>
                </c:pt>
                <c:pt idx="28">
                  <c:v>231</c:v>
                </c:pt>
                <c:pt idx="29">
                  <c:v>488</c:v>
                </c:pt>
                <c:pt idx="30">
                  <c:v>376</c:v>
                </c:pt>
                <c:pt idx="31">
                  <c:v>248</c:v>
                </c:pt>
                <c:pt idx="32">
                  <c:v>67</c:v>
                </c:pt>
                <c:pt idx="33">
                  <c:v>55</c:v>
                </c:pt>
                <c:pt idx="34">
                  <c:v>182</c:v>
                </c:pt>
                <c:pt idx="35">
                  <c:v>414</c:v>
                </c:pt>
                <c:pt idx="36">
                  <c:v>556</c:v>
                </c:pt>
                <c:pt idx="37">
                  <c:v>370</c:v>
                </c:pt>
                <c:pt idx="38">
                  <c:v>413</c:v>
                </c:pt>
                <c:pt idx="39">
                  <c:v>461</c:v>
                </c:pt>
                <c:pt idx="40">
                  <c:v>46</c:v>
                </c:pt>
                <c:pt idx="41">
                  <c:v>81</c:v>
                </c:pt>
                <c:pt idx="42">
                  <c:v>308</c:v>
                </c:pt>
                <c:pt idx="43">
                  <c:v>431</c:v>
                </c:pt>
                <c:pt idx="44">
                  <c:v>391</c:v>
                </c:pt>
                <c:pt idx="45">
                  <c:v>295</c:v>
                </c:pt>
                <c:pt idx="46">
                  <c:v>382</c:v>
                </c:pt>
                <c:pt idx="47">
                  <c:v>10</c:v>
                </c:pt>
                <c:pt idx="48">
                  <c:v>119</c:v>
                </c:pt>
                <c:pt idx="49">
                  <c:v>820</c:v>
                </c:pt>
                <c:pt idx="50">
                  <c:v>137</c:v>
                </c:pt>
                <c:pt idx="51">
                  <c:v>428</c:v>
                </c:pt>
                <c:pt idx="52">
                  <c:v>483</c:v>
                </c:pt>
                <c:pt idx="53">
                  <c:v>319</c:v>
                </c:pt>
                <c:pt idx="54">
                  <c:v>134</c:v>
                </c:pt>
                <c:pt idx="55">
                  <c:v>179</c:v>
                </c:pt>
                <c:pt idx="56">
                  <c:v>505</c:v>
                </c:pt>
                <c:pt idx="57">
                  <c:v>531</c:v>
                </c:pt>
                <c:pt idx="58">
                  <c:v>795</c:v>
                </c:pt>
                <c:pt idx="59">
                  <c:v>472</c:v>
                </c:pt>
                <c:pt idx="60">
                  <c:v>405</c:v>
                </c:pt>
                <c:pt idx="61">
                  <c:v>286</c:v>
                </c:pt>
                <c:pt idx="62">
                  <c:v>346</c:v>
                </c:pt>
                <c:pt idx="63">
                  <c:v>539</c:v>
                </c:pt>
                <c:pt idx="64">
                  <c:v>850</c:v>
                </c:pt>
                <c:pt idx="65">
                  <c:v>334</c:v>
                </c:pt>
                <c:pt idx="66">
                  <c:v>586</c:v>
                </c:pt>
                <c:pt idx="67">
                  <c:v>593</c:v>
                </c:pt>
                <c:pt idx="68">
                  <c:v>158</c:v>
                </c:pt>
                <c:pt idx="69">
                  <c:v>149</c:v>
                </c:pt>
                <c:pt idx="70">
                  <c:v>773</c:v>
                </c:pt>
                <c:pt idx="71">
                  <c:v>699</c:v>
                </c:pt>
                <c:pt idx="72">
                  <c:v>445</c:v>
                </c:pt>
                <c:pt idx="73">
                  <c:v>646</c:v>
                </c:pt>
                <c:pt idx="74">
                  <c:v>240</c:v>
                </c:pt>
                <c:pt idx="75">
                  <c:v>33</c:v>
                </c:pt>
                <c:pt idx="76">
                  <c:v>212</c:v>
                </c:pt>
                <c:pt idx="77">
                  <c:v>968</c:v>
                </c:pt>
                <c:pt idx="78">
                  <c:v>648</c:v>
                </c:pt>
                <c:pt idx="79">
                  <c:v>718</c:v>
                </c:pt>
                <c:pt idx="80">
                  <c:v>318</c:v>
                </c:pt>
                <c:pt idx="81">
                  <c:v>392</c:v>
                </c:pt>
                <c:pt idx="82">
                  <c:v>48</c:v>
                </c:pt>
                <c:pt idx="83">
                  <c:v>403</c:v>
                </c:pt>
                <c:pt idx="84">
                  <c:v>961</c:v>
                </c:pt>
                <c:pt idx="85">
                  <c:v>327</c:v>
                </c:pt>
                <c:pt idx="86">
                  <c:v>1001</c:v>
                </c:pt>
                <c:pt idx="87">
                  <c:v>512</c:v>
                </c:pt>
                <c:pt idx="88">
                  <c:v>138</c:v>
                </c:pt>
                <c:pt idx="89">
                  <c:v>58</c:v>
                </c:pt>
                <c:pt idx="90">
                  <c:v>474</c:v>
                </c:pt>
                <c:pt idx="91">
                  <c:v>501</c:v>
                </c:pt>
                <c:pt idx="92">
                  <c:v>528</c:v>
                </c:pt>
                <c:pt idx="93">
                  <c:v>342</c:v>
                </c:pt>
                <c:pt idx="94">
                  <c:v>315</c:v>
                </c:pt>
                <c:pt idx="95">
                  <c:v>137</c:v>
                </c:pt>
                <c:pt idx="96">
                  <c:v>27</c:v>
                </c:pt>
                <c:pt idx="97">
                  <c:v>68</c:v>
                </c:pt>
                <c:pt idx="98">
                  <c:v>357</c:v>
                </c:pt>
                <c:pt idx="99">
                  <c:v>541</c:v>
                </c:pt>
                <c:pt idx="100">
                  <c:v>210</c:v>
                </c:pt>
                <c:pt idx="101">
                  <c:v>93</c:v>
                </c:pt>
                <c:pt idx="102">
                  <c:v>192</c:v>
                </c:pt>
                <c:pt idx="103">
                  <c:v>109</c:v>
                </c:pt>
                <c:pt idx="104">
                  <c:v>43</c:v>
                </c:pt>
                <c:pt idx="105">
                  <c:v>250</c:v>
                </c:pt>
                <c:pt idx="106">
                  <c:v>217</c:v>
                </c:pt>
                <c:pt idx="107">
                  <c:v>234</c:v>
                </c:pt>
                <c:pt idx="108">
                  <c:v>72</c:v>
                </c:pt>
                <c:pt idx="109">
                  <c:v>136</c:v>
                </c:pt>
                <c:pt idx="110">
                  <c:v>20</c:v>
                </c:pt>
                <c:pt idx="111">
                  <c:v>54</c:v>
                </c:pt>
                <c:pt idx="112">
                  <c:v>107</c:v>
                </c:pt>
                <c:pt idx="113">
                  <c:v>153</c:v>
                </c:pt>
                <c:pt idx="114">
                  <c:v>32</c:v>
                </c:pt>
                <c:pt idx="115">
                  <c:v>111</c:v>
                </c:pt>
                <c:pt idx="116">
                  <c:v>26</c:v>
                </c:pt>
                <c:pt idx="117">
                  <c:v>13</c:v>
                </c:pt>
                <c:pt idx="118">
                  <c:v>48</c:v>
                </c:pt>
                <c:pt idx="119">
                  <c:v>79</c:v>
                </c:pt>
                <c:pt idx="120">
                  <c:v>129</c:v>
                </c:pt>
                <c:pt idx="121">
                  <c:v>13</c:v>
                </c:pt>
                <c:pt idx="122">
                  <c:v>82</c:v>
                </c:pt>
                <c:pt idx="123">
                  <c:v>3</c:v>
                </c:pt>
                <c:pt idx="124">
                  <c:v>2</c:v>
                </c:pt>
                <c:pt idx="125">
                  <c:v>32</c:v>
                </c:pt>
                <c:pt idx="126">
                  <c:v>14</c:v>
                </c:pt>
                <c:pt idx="127">
                  <c:v>74</c:v>
                </c:pt>
                <c:pt idx="128">
                  <c:v>56</c:v>
                </c:pt>
                <c:pt idx="129">
                  <c:v>75</c:v>
                </c:pt>
                <c:pt idx="130">
                  <c:v>5</c:v>
                </c:pt>
                <c:pt idx="131">
                  <c:v>14</c:v>
                </c:pt>
                <c:pt idx="132">
                  <c:v>45</c:v>
                </c:pt>
                <c:pt idx="133">
                  <c:v>63</c:v>
                </c:pt>
                <c:pt idx="134">
                  <c:v>9</c:v>
                </c:pt>
                <c:pt idx="135">
                  <c:v>26</c:v>
                </c:pt>
                <c:pt idx="136">
                  <c:v>37</c:v>
                </c:pt>
                <c:pt idx="137">
                  <c:v>3</c:v>
                </c:pt>
                <c:pt idx="138">
                  <c:v>11</c:v>
                </c:pt>
                <c:pt idx="139">
                  <c:v>41</c:v>
                </c:pt>
                <c:pt idx="140">
                  <c:v>10</c:v>
                </c:pt>
                <c:pt idx="141">
                  <c:v>39</c:v>
                </c:pt>
                <c:pt idx="142">
                  <c:v>4</c:v>
                </c:pt>
                <c:pt idx="143">
                  <c:v>21</c:v>
                </c:pt>
                <c:pt idx="144">
                  <c:v>18</c:v>
                </c:pt>
                <c:pt idx="145">
                  <c:v>0</c:v>
                </c:pt>
                <c:pt idx="146">
                  <c:v>26</c:v>
                </c:pt>
                <c:pt idx="147">
                  <c:v>6</c:v>
                </c:pt>
                <c:pt idx="148">
                  <c:v>74</c:v>
                </c:pt>
                <c:pt idx="149">
                  <c:v>9</c:v>
                </c:pt>
                <c:pt idx="150">
                  <c:v>16</c:v>
                </c:pt>
                <c:pt idx="151">
                  <c:v>26</c:v>
                </c:pt>
                <c:pt idx="152">
                  <c:v>1</c:v>
                </c:pt>
                <c:pt idx="153">
                  <c:v>8</c:v>
                </c:pt>
                <c:pt idx="154">
                  <c:v>23</c:v>
                </c:pt>
                <c:pt idx="155">
                  <c:v>34</c:v>
                </c:pt>
                <c:pt idx="156">
                  <c:v>8</c:v>
                </c:pt>
                <c:pt idx="157">
                  <c:v>14</c:v>
                </c:pt>
                <c:pt idx="158">
                  <c:v>11</c:v>
                </c:pt>
                <c:pt idx="159">
                  <c:v>1</c:v>
                </c:pt>
                <c:pt idx="160">
                  <c:v>26</c:v>
                </c:pt>
                <c:pt idx="161">
                  <c:v>8</c:v>
                </c:pt>
                <c:pt idx="162">
                  <c:v>21</c:v>
                </c:pt>
                <c:pt idx="163">
                  <c:v>12</c:v>
                </c:pt>
                <c:pt idx="164">
                  <c:v>7</c:v>
                </c:pt>
                <c:pt idx="165">
                  <c:v>16</c:v>
                </c:pt>
                <c:pt idx="166">
                  <c:v>0</c:v>
                </c:pt>
                <c:pt idx="167">
                  <c:v>15</c:v>
                </c:pt>
                <c:pt idx="168">
                  <c:v>20</c:v>
                </c:pt>
                <c:pt idx="169">
                  <c:v>3</c:v>
                </c:pt>
                <c:pt idx="170">
                  <c:v>1</c:v>
                </c:pt>
                <c:pt idx="171">
                  <c:v>5</c:v>
                </c:pt>
                <c:pt idx="172">
                  <c:v>0</c:v>
                </c:pt>
                <c:pt idx="173">
                  <c:v>0</c:v>
                </c:pt>
                <c:pt idx="174">
                  <c:v>2</c:v>
                </c:pt>
                <c:pt idx="175">
                  <c:v>2</c:v>
                </c:pt>
                <c:pt idx="176">
                  <c:v>3</c:v>
                </c:pt>
                <c:pt idx="177">
                  <c:v>3</c:v>
                </c:pt>
                <c:pt idx="178">
                  <c:v>7</c:v>
                </c:pt>
                <c:pt idx="179">
                  <c:v>0</c:v>
                </c:pt>
                <c:pt idx="18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367</c:v>
                </c:pt>
                <c:pt idx="89">
                  <c:v>367</c:v>
                </c:pt>
                <c:pt idx="90">
                  <c:v>365</c:v>
                </c:pt>
                <c:pt idx="91">
                  <c:v>361</c:v>
                </c:pt>
                <c:pt idx="92">
                  <c:v>357</c:v>
                </c:pt>
                <c:pt idx="93">
                  <c:v>352</c:v>
                </c:pt>
                <c:pt idx="94">
                  <c:v>347</c:v>
                </c:pt>
                <c:pt idx="95">
                  <c:v>342</c:v>
                </c:pt>
                <c:pt idx="96">
                  <c:v>337</c:v>
                </c:pt>
                <c:pt idx="97">
                  <c:v>331</c:v>
                </c:pt>
                <c:pt idx="98">
                  <c:v>326</c:v>
                </c:pt>
                <c:pt idx="99">
                  <c:v>320</c:v>
                </c:pt>
                <c:pt idx="100">
                  <c:v>314</c:v>
                </c:pt>
                <c:pt idx="101">
                  <c:v>308</c:v>
                </c:pt>
                <c:pt idx="102">
                  <c:v>302</c:v>
                </c:pt>
                <c:pt idx="103">
                  <c:v>296</c:v>
                </c:pt>
                <c:pt idx="104">
                  <c:v>290</c:v>
                </c:pt>
                <c:pt idx="105">
                  <c:v>284</c:v>
                </c:pt>
                <c:pt idx="106">
                  <c:v>277</c:v>
                </c:pt>
                <c:pt idx="107">
                  <c:v>271</c:v>
                </c:pt>
                <c:pt idx="108">
                  <c:v>265</c:v>
                </c:pt>
                <c:pt idx="109">
                  <c:v>259</c:v>
                </c:pt>
                <c:pt idx="110">
                  <c:v>253</c:v>
                </c:pt>
                <c:pt idx="111">
                  <c:v>246</c:v>
                </c:pt>
                <c:pt idx="112">
                  <c:v>240</c:v>
                </c:pt>
                <c:pt idx="113">
                  <c:v>234</c:v>
                </c:pt>
                <c:pt idx="114">
                  <c:v>228</c:v>
                </c:pt>
                <c:pt idx="115">
                  <c:v>222</c:v>
                </c:pt>
                <c:pt idx="116">
                  <c:v>217</c:v>
                </c:pt>
                <c:pt idx="117">
                  <c:v>211</c:v>
                </c:pt>
                <c:pt idx="118">
                  <c:v>205</c:v>
                </c:pt>
                <c:pt idx="119">
                  <c:v>200</c:v>
                </c:pt>
                <c:pt idx="120">
                  <c:v>194</c:v>
                </c:pt>
                <c:pt idx="121">
                  <c:v>189</c:v>
                </c:pt>
                <c:pt idx="122">
                  <c:v>184</c:v>
                </c:pt>
                <c:pt idx="123">
                  <c:v>179</c:v>
                </c:pt>
                <c:pt idx="124">
                  <c:v>174</c:v>
                </c:pt>
                <c:pt idx="125">
                  <c:v>169</c:v>
                </c:pt>
                <c:pt idx="126">
                  <c:v>164</c:v>
                </c:pt>
                <c:pt idx="127">
                  <c:v>159</c:v>
                </c:pt>
                <c:pt idx="128">
                  <c:v>155</c:v>
                </c:pt>
                <c:pt idx="129">
                  <c:v>150</c:v>
                </c:pt>
                <c:pt idx="130">
                  <c:v>146</c:v>
                </c:pt>
                <c:pt idx="131">
                  <c:v>142</c:v>
                </c:pt>
                <c:pt idx="132">
                  <c:v>138</c:v>
                </c:pt>
                <c:pt idx="133">
                  <c:v>133</c:v>
                </c:pt>
                <c:pt idx="134">
                  <c:v>129</c:v>
                </c:pt>
                <c:pt idx="135">
                  <c:v>125</c:v>
                </c:pt>
                <c:pt idx="136">
                  <c:v>122</c:v>
                </c:pt>
                <c:pt idx="137">
                  <c:v>118</c:v>
                </c:pt>
                <c:pt idx="138">
                  <c:v>114</c:v>
                </c:pt>
                <c:pt idx="139">
                  <c:v>110</c:v>
                </c:pt>
                <c:pt idx="140">
                  <c:v>107</c:v>
                </c:pt>
                <c:pt idx="141">
                  <c:v>103</c:v>
                </c:pt>
                <c:pt idx="142">
                  <c:v>100</c:v>
                </c:pt>
                <c:pt idx="143">
                  <c:v>97</c:v>
                </c:pt>
                <c:pt idx="144">
                  <c:v>94</c:v>
                </c:pt>
                <c:pt idx="145">
                  <c:v>91</c:v>
                </c:pt>
                <c:pt idx="146">
                  <c:v>88</c:v>
                </c:pt>
                <c:pt idx="147">
                  <c:v>85</c:v>
                </c:pt>
                <c:pt idx="148">
                  <c:v>82</c:v>
                </c:pt>
                <c:pt idx="149">
                  <c:v>79</c:v>
                </c:pt>
                <c:pt idx="150">
                  <c:v>76</c:v>
                </c:pt>
                <c:pt idx="151">
                  <c:v>74</c:v>
                </c:pt>
                <c:pt idx="152">
                  <c:v>71</c:v>
                </c:pt>
                <c:pt idx="153">
                  <c:v>69</c:v>
                </c:pt>
                <c:pt idx="154">
                  <c:v>66</c:v>
                </c:pt>
                <c:pt idx="155">
                  <c:v>64</c:v>
                </c:pt>
                <c:pt idx="156">
                  <c:v>62</c:v>
                </c:pt>
                <c:pt idx="157">
                  <c:v>60</c:v>
                </c:pt>
                <c:pt idx="158">
                  <c:v>58</c:v>
                </c:pt>
                <c:pt idx="159">
                  <c:v>56</c:v>
                </c:pt>
                <c:pt idx="160">
                  <c:v>54</c:v>
                </c:pt>
                <c:pt idx="161">
                  <c:v>51</c:v>
                </c:pt>
                <c:pt idx="162">
                  <c:v>49</c:v>
                </c:pt>
                <c:pt idx="163">
                  <c:v>47</c:v>
                </c:pt>
                <c:pt idx="164">
                  <c:v>45</c:v>
                </c:pt>
                <c:pt idx="165">
                  <c:v>43</c:v>
                </c:pt>
                <c:pt idx="166">
                  <c:v>41</c:v>
                </c:pt>
                <c:pt idx="167">
                  <c:v>39</c:v>
                </c:pt>
                <c:pt idx="168">
                  <c:v>37</c:v>
                </c:pt>
                <c:pt idx="169">
                  <c:v>36</c:v>
                </c:pt>
                <c:pt idx="170">
                  <c:v>34</c:v>
                </c:pt>
                <c:pt idx="171">
                  <c:v>32</c:v>
                </c:pt>
                <c:pt idx="172">
                  <c:v>30</c:v>
                </c:pt>
                <c:pt idx="173">
                  <c:v>29</c:v>
                </c:pt>
                <c:pt idx="174">
                  <c:v>27</c:v>
                </c:pt>
                <c:pt idx="175">
                  <c:v>26</c:v>
                </c:pt>
                <c:pt idx="176">
                  <c:v>24</c:v>
                </c:pt>
                <c:pt idx="177">
                  <c:v>23</c:v>
                </c:pt>
                <c:pt idx="178">
                  <c:v>22</c:v>
                </c:pt>
                <c:pt idx="179">
                  <c:v>21</c:v>
                </c:pt>
                <c:pt idx="180">
                  <c:v>20</c:v>
                </c:pt>
                <c:pt idx="181">
                  <c:v>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402</c:v>
                </c:pt>
                <c:pt idx="89">
                  <c:v>403</c:v>
                </c:pt>
                <c:pt idx="90">
                  <c:v>401</c:v>
                </c:pt>
                <c:pt idx="91">
                  <c:v>399</c:v>
                </c:pt>
                <c:pt idx="92">
                  <c:v>395</c:v>
                </c:pt>
                <c:pt idx="93">
                  <c:v>391</c:v>
                </c:pt>
                <c:pt idx="94">
                  <c:v>387</c:v>
                </c:pt>
                <c:pt idx="95">
                  <c:v>382</c:v>
                </c:pt>
                <c:pt idx="96">
                  <c:v>377</c:v>
                </c:pt>
                <c:pt idx="97">
                  <c:v>372</c:v>
                </c:pt>
                <c:pt idx="98">
                  <c:v>367</c:v>
                </c:pt>
                <c:pt idx="99">
                  <c:v>362</c:v>
                </c:pt>
                <c:pt idx="100">
                  <c:v>356</c:v>
                </c:pt>
                <c:pt idx="101">
                  <c:v>351</c:v>
                </c:pt>
                <c:pt idx="102">
                  <c:v>345</c:v>
                </c:pt>
                <c:pt idx="103">
                  <c:v>339</c:v>
                </c:pt>
                <c:pt idx="104">
                  <c:v>334</c:v>
                </c:pt>
                <c:pt idx="105">
                  <c:v>328</c:v>
                </c:pt>
                <c:pt idx="106">
                  <c:v>322</c:v>
                </c:pt>
                <c:pt idx="107">
                  <c:v>317</c:v>
                </c:pt>
                <c:pt idx="108">
                  <c:v>311</c:v>
                </c:pt>
                <c:pt idx="109">
                  <c:v>305</c:v>
                </c:pt>
                <c:pt idx="110">
                  <c:v>300</c:v>
                </c:pt>
                <c:pt idx="111">
                  <c:v>294</c:v>
                </c:pt>
                <c:pt idx="112">
                  <c:v>288</c:v>
                </c:pt>
                <c:pt idx="113">
                  <c:v>283</c:v>
                </c:pt>
                <c:pt idx="114">
                  <c:v>277</c:v>
                </c:pt>
                <c:pt idx="115">
                  <c:v>272</c:v>
                </c:pt>
                <c:pt idx="116">
                  <c:v>266</c:v>
                </c:pt>
                <c:pt idx="117">
                  <c:v>261</c:v>
                </c:pt>
                <c:pt idx="118">
                  <c:v>256</c:v>
                </c:pt>
                <c:pt idx="119">
                  <c:v>250</c:v>
                </c:pt>
                <c:pt idx="120">
                  <c:v>245</c:v>
                </c:pt>
                <c:pt idx="121">
                  <c:v>240</c:v>
                </c:pt>
                <c:pt idx="122">
                  <c:v>235</c:v>
                </c:pt>
                <c:pt idx="123">
                  <c:v>230</c:v>
                </c:pt>
                <c:pt idx="124">
                  <c:v>225</c:v>
                </c:pt>
                <c:pt idx="125">
                  <c:v>220</c:v>
                </c:pt>
                <c:pt idx="126">
                  <c:v>216</c:v>
                </c:pt>
                <c:pt idx="127">
                  <c:v>211</c:v>
                </c:pt>
                <c:pt idx="128">
                  <c:v>206</c:v>
                </c:pt>
                <c:pt idx="129">
                  <c:v>202</c:v>
                </c:pt>
                <c:pt idx="130">
                  <c:v>197</c:v>
                </c:pt>
                <c:pt idx="131">
                  <c:v>193</c:v>
                </c:pt>
                <c:pt idx="132">
                  <c:v>189</c:v>
                </c:pt>
                <c:pt idx="133">
                  <c:v>184</c:v>
                </c:pt>
                <c:pt idx="134">
                  <c:v>180</c:v>
                </c:pt>
                <c:pt idx="135">
                  <c:v>176</c:v>
                </c:pt>
                <c:pt idx="136">
                  <c:v>172</c:v>
                </c:pt>
                <c:pt idx="137">
                  <c:v>168</c:v>
                </c:pt>
                <c:pt idx="138">
                  <c:v>164</c:v>
                </c:pt>
                <c:pt idx="139">
                  <c:v>160</c:v>
                </c:pt>
                <c:pt idx="140">
                  <c:v>157</c:v>
                </c:pt>
                <c:pt idx="141">
                  <c:v>153</c:v>
                </c:pt>
                <c:pt idx="142">
                  <c:v>149</c:v>
                </c:pt>
                <c:pt idx="143">
                  <c:v>146</c:v>
                </c:pt>
                <c:pt idx="144">
                  <c:v>142</c:v>
                </c:pt>
                <c:pt idx="145">
                  <c:v>139</c:v>
                </c:pt>
                <c:pt idx="146">
                  <c:v>136</c:v>
                </c:pt>
                <c:pt idx="147">
                  <c:v>132</c:v>
                </c:pt>
                <c:pt idx="148">
                  <c:v>129</c:v>
                </c:pt>
                <c:pt idx="149">
                  <c:v>126</c:v>
                </c:pt>
                <c:pt idx="150">
                  <c:v>123</c:v>
                </c:pt>
                <c:pt idx="151">
                  <c:v>120</c:v>
                </c:pt>
                <c:pt idx="152">
                  <c:v>117</c:v>
                </c:pt>
                <c:pt idx="153">
                  <c:v>114</c:v>
                </c:pt>
                <c:pt idx="154">
                  <c:v>111</c:v>
                </c:pt>
                <c:pt idx="155">
                  <c:v>109</c:v>
                </c:pt>
                <c:pt idx="156">
                  <c:v>106</c:v>
                </c:pt>
                <c:pt idx="157">
                  <c:v>103</c:v>
                </c:pt>
                <c:pt idx="158">
                  <c:v>101</c:v>
                </c:pt>
                <c:pt idx="159">
                  <c:v>98</c:v>
                </c:pt>
                <c:pt idx="160">
                  <c:v>96</c:v>
                </c:pt>
                <c:pt idx="161">
                  <c:v>94</c:v>
                </c:pt>
                <c:pt idx="162">
                  <c:v>91</c:v>
                </c:pt>
                <c:pt idx="163">
                  <c:v>89</c:v>
                </c:pt>
                <c:pt idx="164">
                  <c:v>87</c:v>
                </c:pt>
                <c:pt idx="165">
                  <c:v>85</c:v>
                </c:pt>
                <c:pt idx="166">
                  <c:v>82</c:v>
                </c:pt>
                <c:pt idx="167">
                  <c:v>80</c:v>
                </c:pt>
                <c:pt idx="168">
                  <c:v>78</c:v>
                </c:pt>
                <c:pt idx="169">
                  <c:v>76</c:v>
                </c:pt>
                <c:pt idx="170">
                  <c:v>74</c:v>
                </c:pt>
                <c:pt idx="171">
                  <c:v>72</c:v>
                </c:pt>
                <c:pt idx="172">
                  <c:v>71</c:v>
                </c:pt>
                <c:pt idx="173">
                  <c:v>69</c:v>
                </c:pt>
                <c:pt idx="174">
                  <c:v>67</c:v>
                </c:pt>
                <c:pt idx="175">
                  <c:v>65</c:v>
                </c:pt>
                <c:pt idx="176">
                  <c:v>64</c:v>
                </c:pt>
                <c:pt idx="177">
                  <c:v>62</c:v>
                </c:pt>
                <c:pt idx="178">
                  <c:v>60</c:v>
                </c:pt>
                <c:pt idx="179">
                  <c:v>59</c:v>
                </c:pt>
                <c:pt idx="180">
                  <c:v>57</c:v>
                </c:pt>
                <c:pt idx="181">
                  <c:v>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78</c:v>
                </c:pt>
                <c:pt idx="1">
                  <c:v>183</c:v>
                </c:pt>
                <c:pt idx="2">
                  <c:v>87</c:v>
                </c:pt>
                <c:pt idx="3">
                  <c:v>112</c:v>
                </c:pt>
                <c:pt idx="4">
                  <c:v>123</c:v>
                </c:pt>
                <c:pt idx="5">
                  <c:v>15</c:v>
                </c:pt>
                <c:pt idx="6">
                  <c:v>125</c:v>
                </c:pt>
                <c:pt idx="7">
                  <c:v>16</c:v>
                </c:pt>
                <c:pt idx="8">
                  <c:v>166</c:v>
                </c:pt>
                <c:pt idx="9">
                  <c:v>199</c:v>
                </c:pt>
                <c:pt idx="10">
                  <c:v>41</c:v>
                </c:pt>
                <c:pt idx="11">
                  <c:v>96</c:v>
                </c:pt>
                <c:pt idx="12">
                  <c:v>60</c:v>
                </c:pt>
                <c:pt idx="13">
                  <c:v>47</c:v>
                </c:pt>
                <c:pt idx="14">
                  <c:v>121</c:v>
                </c:pt>
                <c:pt idx="15">
                  <c:v>202</c:v>
                </c:pt>
                <c:pt idx="16">
                  <c:v>251</c:v>
                </c:pt>
                <c:pt idx="17">
                  <c:v>205</c:v>
                </c:pt>
                <c:pt idx="18">
                  <c:v>79</c:v>
                </c:pt>
                <c:pt idx="19">
                  <c:v>32</c:v>
                </c:pt>
                <c:pt idx="20">
                  <c:v>235</c:v>
                </c:pt>
                <c:pt idx="21">
                  <c:v>291</c:v>
                </c:pt>
                <c:pt idx="22">
                  <c:v>92</c:v>
                </c:pt>
                <c:pt idx="23">
                  <c:v>206</c:v>
                </c:pt>
                <c:pt idx="24">
                  <c:v>33</c:v>
                </c:pt>
                <c:pt idx="25">
                  <c:v>17</c:v>
                </c:pt>
                <c:pt idx="26">
                  <c:v>12</c:v>
                </c:pt>
                <c:pt idx="27">
                  <c:v>246</c:v>
                </c:pt>
                <c:pt idx="28">
                  <c:v>231</c:v>
                </c:pt>
                <c:pt idx="29">
                  <c:v>488</c:v>
                </c:pt>
                <c:pt idx="30">
                  <c:v>376</c:v>
                </c:pt>
                <c:pt idx="31">
                  <c:v>248</c:v>
                </c:pt>
                <c:pt idx="32">
                  <c:v>67</c:v>
                </c:pt>
                <c:pt idx="33">
                  <c:v>55</c:v>
                </c:pt>
                <c:pt idx="34">
                  <c:v>182</c:v>
                </c:pt>
                <c:pt idx="35">
                  <c:v>414</c:v>
                </c:pt>
                <c:pt idx="36">
                  <c:v>556</c:v>
                </c:pt>
                <c:pt idx="37">
                  <c:v>370</c:v>
                </c:pt>
                <c:pt idx="38">
                  <c:v>413</c:v>
                </c:pt>
                <c:pt idx="39">
                  <c:v>461</c:v>
                </c:pt>
                <c:pt idx="40">
                  <c:v>46</c:v>
                </c:pt>
                <c:pt idx="41">
                  <c:v>81</c:v>
                </c:pt>
                <c:pt idx="42">
                  <c:v>308</c:v>
                </c:pt>
                <c:pt idx="43">
                  <c:v>431</c:v>
                </c:pt>
                <c:pt idx="44">
                  <c:v>391</c:v>
                </c:pt>
                <c:pt idx="45">
                  <c:v>295</c:v>
                </c:pt>
                <c:pt idx="46">
                  <c:v>382</c:v>
                </c:pt>
                <c:pt idx="47">
                  <c:v>10</c:v>
                </c:pt>
                <c:pt idx="48">
                  <c:v>119</c:v>
                </c:pt>
                <c:pt idx="49">
                  <c:v>820</c:v>
                </c:pt>
                <c:pt idx="50">
                  <c:v>137</c:v>
                </c:pt>
                <c:pt idx="51">
                  <c:v>428</c:v>
                </c:pt>
                <c:pt idx="52">
                  <c:v>483</c:v>
                </c:pt>
                <c:pt idx="53">
                  <c:v>319</c:v>
                </c:pt>
                <c:pt idx="54">
                  <c:v>134</c:v>
                </c:pt>
                <c:pt idx="55">
                  <c:v>179</c:v>
                </c:pt>
                <c:pt idx="56">
                  <c:v>505</c:v>
                </c:pt>
                <c:pt idx="57">
                  <c:v>531</c:v>
                </c:pt>
                <c:pt idx="58">
                  <c:v>795</c:v>
                </c:pt>
                <c:pt idx="59">
                  <c:v>472</c:v>
                </c:pt>
                <c:pt idx="60">
                  <c:v>405</c:v>
                </c:pt>
                <c:pt idx="61">
                  <c:v>286</c:v>
                </c:pt>
                <c:pt idx="62">
                  <c:v>346</c:v>
                </c:pt>
                <c:pt idx="63">
                  <c:v>539</c:v>
                </c:pt>
                <c:pt idx="64">
                  <c:v>850</c:v>
                </c:pt>
                <c:pt idx="65">
                  <c:v>334</c:v>
                </c:pt>
                <c:pt idx="66">
                  <c:v>586</c:v>
                </c:pt>
                <c:pt idx="67">
                  <c:v>593</c:v>
                </c:pt>
                <c:pt idx="68">
                  <c:v>158</c:v>
                </c:pt>
                <c:pt idx="69">
                  <c:v>149</c:v>
                </c:pt>
                <c:pt idx="70">
                  <c:v>773</c:v>
                </c:pt>
                <c:pt idx="71">
                  <c:v>699</c:v>
                </c:pt>
                <c:pt idx="72">
                  <c:v>445</c:v>
                </c:pt>
                <c:pt idx="73">
                  <c:v>646</c:v>
                </c:pt>
                <c:pt idx="74">
                  <c:v>240</c:v>
                </c:pt>
                <c:pt idx="75">
                  <c:v>33</c:v>
                </c:pt>
                <c:pt idx="76">
                  <c:v>212</c:v>
                </c:pt>
                <c:pt idx="77">
                  <c:v>968</c:v>
                </c:pt>
                <c:pt idx="78">
                  <c:v>648</c:v>
                </c:pt>
                <c:pt idx="79">
                  <c:v>718</c:v>
                </c:pt>
                <c:pt idx="80">
                  <c:v>318</c:v>
                </c:pt>
                <c:pt idx="81">
                  <c:v>392</c:v>
                </c:pt>
                <c:pt idx="82">
                  <c:v>48</c:v>
                </c:pt>
                <c:pt idx="83">
                  <c:v>403</c:v>
                </c:pt>
                <c:pt idx="84">
                  <c:v>961</c:v>
                </c:pt>
                <c:pt idx="85">
                  <c:v>327</c:v>
                </c:pt>
                <c:pt idx="86">
                  <c:v>1001</c:v>
                </c:pt>
                <c:pt idx="87">
                  <c:v>512</c:v>
                </c:pt>
                <c:pt idx="88">
                  <c:v>138</c:v>
                </c:pt>
                <c:pt idx="89">
                  <c:v>58</c:v>
                </c:pt>
                <c:pt idx="90">
                  <c:v>474</c:v>
                </c:pt>
                <c:pt idx="91">
                  <c:v>501</c:v>
                </c:pt>
                <c:pt idx="92">
                  <c:v>528</c:v>
                </c:pt>
                <c:pt idx="93">
                  <c:v>342</c:v>
                </c:pt>
                <c:pt idx="94">
                  <c:v>315</c:v>
                </c:pt>
                <c:pt idx="95">
                  <c:v>137</c:v>
                </c:pt>
                <c:pt idx="96">
                  <c:v>27</c:v>
                </c:pt>
                <c:pt idx="97">
                  <c:v>68</c:v>
                </c:pt>
                <c:pt idx="98">
                  <c:v>357</c:v>
                </c:pt>
                <c:pt idx="99">
                  <c:v>541</c:v>
                </c:pt>
                <c:pt idx="100">
                  <c:v>210</c:v>
                </c:pt>
                <c:pt idx="101">
                  <c:v>93</c:v>
                </c:pt>
                <c:pt idx="102">
                  <c:v>192</c:v>
                </c:pt>
                <c:pt idx="103">
                  <c:v>109</c:v>
                </c:pt>
                <c:pt idx="104">
                  <c:v>43</c:v>
                </c:pt>
                <c:pt idx="105">
                  <c:v>250</c:v>
                </c:pt>
                <c:pt idx="106">
                  <c:v>217</c:v>
                </c:pt>
                <c:pt idx="107">
                  <c:v>234</c:v>
                </c:pt>
                <c:pt idx="108">
                  <c:v>72</c:v>
                </c:pt>
                <c:pt idx="109">
                  <c:v>136</c:v>
                </c:pt>
                <c:pt idx="110">
                  <c:v>20</c:v>
                </c:pt>
                <c:pt idx="111">
                  <c:v>54</c:v>
                </c:pt>
                <c:pt idx="112">
                  <c:v>107</c:v>
                </c:pt>
                <c:pt idx="113">
                  <c:v>153</c:v>
                </c:pt>
                <c:pt idx="114">
                  <c:v>32</c:v>
                </c:pt>
                <c:pt idx="115">
                  <c:v>111</c:v>
                </c:pt>
                <c:pt idx="116">
                  <c:v>26</c:v>
                </c:pt>
                <c:pt idx="117">
                  <c:v>13</c:v>
                </c:pt>
                <c:pt idx="118">
                  <c:v>48</c:v>
                </c:pt>
                <c:pt idx="119">
                  <c:v>79</c:v>
                </c:pt>
                <c:pt idx="120">
                  <c:v>129</c:v>
                </c:pt>
                <c:pt idx="121">
                  <c:v>13</c:v>
                </c:pt>
                <c:pt idx="122">
                  <c:v>82</c:v>
                </c:pt>
                <c:pt idx="123">
                  <c:v>3</c:v>
                </c:pt>
                <c:pt idx="124">
                  <c:v>2</c:v>
                </c:pt>
                <c:pt idx="125">
                  <c:v>32</c:v>
                </c:pt>
                <c:pt idx="126">
                  <c:v>14</c:v>
                </c:pt>
                <c:pt idx="127">
                  <c:v>74</c:v>
                </c:pt>
                <c:pt idx="128">
                  <c:v>56</c:v>
                </c:pt>
                <c:pt idx="129">
                  <c:v>75</c:v>
                </c:pt>
                <c:pt idx="130">
                  <c:v>5</c:v>
                </c:pt>
                <c:pt idx="131">
                  <c:v>14</c:v>
                </c:pt>
                <c:pt idx="132">
                  <c:v>45</c:v>
                </c:pt>
                <c:pt idx="133">
                  <c:v>63</c:v>
                </c:pt>
                <c:pt idx="134">
                  <c:v>9</c:v>
                </c:pt>
                <c:pt idx="135">
                  <c:v>26</c:v>
                </c:pt>
                <c:pt idx="136">
                  <c:v>37</c:v>
                </c:pt>
                <c:pt idx="137">
                  <c:v>3</c:v>
                </c:pt>
                <c:pt idx="138">
                  <c:v>11</c:v>
                </c:pt>
                <c:pt idx="139">
                  <c:v>41</c:v>
                </c:pt>
                <c:pt idx="140">
                  <c:v>10</c:v>
                </c:pt>
                <c:pt idx="141">
                  <c:v>39</c:v>
                </c:pt>
                <c:pt idx="142">
                  <c:v>4</c:v>
                </c:pt>
                <c:pt idx="143">
                  <c:v>21</c:v>
                </c:pt>
                <c:pt idx="144">
                  <c:v>18</c:v>
                </c:pt>
                <c:pt idx="145">
                  <c:v>0</c:v>
                </c:pt>
                <c:pt idx="146">
                  <c:v>26</c:v>
                </c:pt>
                <c:pt idx="147">
                  <c:v>6</c:v>
                </c:pt>
                <c:pt idx="148">
                  <c:v>74</c:v>
                </c:pt>
                <c:pt idx="149">
                  <c:v>9</c:v>
                </c:pt>
                <c:pt idx="150">
                  <c:v>16</c:v>
                </c:pt>
                <c:pt idx="151">
                  <c:v>26</c:v>
                </c:pt>
                <c:pt idx="152">
                  <c:v>1</c:v>
                </c:pt>
                <c:pt idx="153">
                  <c:v>8</c:v>
                </c:pt>
                <c:pt idx="154">
                  <c:v>23</c:v>
                </c:pt>
                <c:pt idx="155">
                  <c:v>34</c:v>
                </c:pt>
                <c:pt idx="156">
                  <c:v>8</c:v>
                </c:pt>
                <c:pt idx="157">
                  <c:v>14</c:v>
                </c:pt>
                <c:pt idx="158">
                  <c:v>11</c:v>
                </c:pt>
                <c:pt idx="159">
                  <c:v>1</c:v>
                </c:pt>
                <c:pt idx="160">
                  <c:v>26</c:v>
                </c:pt>
                <c:pt idx="161">
                  <c:v>8</c:v>
                </c:pt>
                <c:pt idx="162">
                  <c:v>21</c:v>
                </c:pt>
                <c:pt idx="163">
                  <c:v>12</c:v>
                </c:pt>
                <c:pt idx="164">
                  <c:v>7</c:v>
                </c:pt>
                <c:pt idx="165">
                  <c:v>16</c:v>
                </c:pt>
                <c:pt idx="166">
                  <c:v>0</c:v>
                </c:pt>
                <c:pt idx="167">
                  <c:v>15</c:v>
                </c:pt>
                <c:pt idx="168">
                  <c:v>20</c:v>
                </c:pt>
                <c:pt idx="169">
                  <c:v>3</c:v>
                </c:pt>
                <c:pt idx="170">
                  <c:v>1</c:v>
                </c:pt>
                <c:pt idx="171">
                  <c:v>5</c:v>
                </c:pt>
                <c:pt idx="172">
                  <c:v>0</c:v>
                </c:pt>
                <c:pt idx="173">
                  <c:v>0</c:v>
                </c:pt>
                <c:pt idx="174">
                  <c:v>2</c:v>
                </c:pt>
                <c:pt idx="175">
                  <c:v>2</c:v>
                </c:pt>
                <c:pt idx="176">
                  <c:v>3</c:v>
                </c:pt>
                <c:pt idx="177">
                  <c:v>3</c:v>
                </c:pt>
                <c:pt idx="178">
                  <c:v>7</c:v>
                </c:pt>
                <c:pt idx="179">
                  <c:v>0</c:v>
                </c:pt>
                <c:pt idx="18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B7-4167-B807-D06FF421F8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3</c:v>
                </c:pt>
                <c:pt idx="171">
                  <c:v>12</c:v>
                </c:pt>
                <c:pt idx="172">
                  <c:v>12</c:v>
                </c:pt>
                <c:pt idx="173">
                  <c:v>11</c:v>
                </c:pt>
                <c:pt idx="174">
                  <c:v>11</c:v>
                </c:pt>
                <c:pt idx="175">
                  <c:v>10</c:v>
                </c:pt>
                <c:pt idx="176">
                  <c:v>10</c:v>
                </c:pt>
                <c:pt idx="177">
                  <c:v>9</c:v>
                </c:pt>
                <c:pt idx="178">
                  <c:v>9</c:v>
                </c:pt>
                <c:pt idx="179">
                  <c:v>8</c:v>
                </c:pt>
                <c:pt idx="180">
                  <c:v>8</c:v>
                </c:pt>
                <c:pt idx="181">
                  <c:v>7</c:v>
                </c:pt>
                <c:pt idx="182">
                  <c:v>7</c:v>
                </c:pt>
                <c:pt idx="183">
                  <c:v>6</c:v>
                </c:pt>
                <c:pt idx="184">
                  <c:v>6</c:v>
                </c:pt>
                <c:pt idx="185">
                  <c:v>6</c:v>
                </c:pt>
                <c:pt idx="186">
                  <c:v>5</c:v>
                </c:pt>
                <c:pt idx="187">
                  <c:v>5</c:v>
                </c:pt>
                <c:pt idx="188">
                  <c:v>5</c:v>
                </c:pt>
                <c:pt idx="189">
                  <c:v>5</c:v>
                </c:pt>
                <c:pt idx="190">
                  <c:v>4</c:v>
                </c:pt>
                <c:pt idx="191">
                  <c:v>4</c:v>
                </c:pt>
                <c:pt idx="192">
                  <c:v>4</c:v>
                </c:pt>
                <c:pt idx="193">
                  <c:v>4</c:v>
                </c:pt>
                <c:pt idx="194">
                  <c:v>3</c:v>
                </c:pt>
                <c:pt idx="195">
                  <c:v>3</c:v>
                </c:pt>
                <c:pt idx="196">
                  <c:v>3</c:v>
                </c:pt>
                <c:pt idx="197">
                  <c:v>3</c:v>
                </c:pt>
                <c:pt idx="198">
                  <c:v>3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1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1</c:v>
                </c:pt>
                <c:pt idx="212">
                  <c:v>1</c:v>
                </c:pt>
                <c:pt idx="213">
                  <c:v>1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B7-4167-B807-D06FF421F89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4</c:v>
                </c:pt>
                <c:pt idx="171">
                  <c:v>14</c:v>
                </c:pt>
                <c:pt idx="172">
                  <c:v>14</c:v>
                </c:pt>
                <c:pt idx="173">
                  <c:v>14</c:v>
                </c:pt>
                <c:pt idx="174">
                  <c:v>14</c:v>
                </c:pt>
                <c:pt idx="175">
                  <c:v>14</c:v>
                </c:pt>
                <c:pt idx="176">
                  <c:v>15</c:v>
                </c:pt>
                <c:pt idx="177">
                  <c:v>15</c:v>
                </c:pt>
                <c:pt idx="178">
                  <c:v>15</c:v>
                </c:pt>
                <c:pt idx="179">
                  <c:v>16</c:v>
                </c:pt>
                <c:pt idx="180">
                  <c:v>16</c:v>
                </c:pt>
                <c:pt idx="181">
                  <c:v>17</c:v>
                </c:pt>
                <c:pt idx="182">
                  <c:v>17</c:v>
                </c:pt>
                <c:pt idx="183">
                  <c:v>17</c:v>
                </c:pt>
                <c:pt idx="184">
                  <c:v>18</c:v>
                </c:pt>
                <c:pt idx="185">
                  <c:v>18</c:v>
                </c:pt>
                <c:pt idx="186">
                  <c:v>19</c:v>
                </c:pt>
                <c:pt idx="187">
                  <c:v>19</c:v>
                </c:pt>
                <c:pt idx="188">
                  <c:v>19</c:v>
                </c:pt>
                <c:pt idx="189">
                  <c:v>20</c:v>
                </c:pt>
                <c:pt idx="190">
                  <c:v>20</c:v>
                </c:pt>
                <c:pt idx="191">
                  <c:v>21</c:v>
                </c:pt>
                <c:pt idx="192">
                  <c:v>21</c:v>
                </c:pt>
                <c:pt idx="193">
                  <c:v>22</c:v>
                </c:pt>
                <c:pt idx="194">
                  <c:v>22</c:v>
                </c:pt>
                <c:pt idx="195">
                  <c:v>23</c:v>
                </c:pt>
                <c:pt idx="196">
                  <c:v>23</c:v>
                </c:pt>
                <c:pt idx="197">
                  <c:v>23</c:v>
                </c:pt>
                <c:pt idx="198">
                  <c:v>24</c:v>
                </c:pt>
                <c:pt idx="199">
                  <c:v>24</c:v>
                </c:pt>
                <c:pt idx="200">
                  <c:v>24</c:v>
                </c:pt>
                <c:pt idx="201">
                  <c:v>25</c:v>
                </c:pt>
                <c:pt idx="202">
                  <c:v>25</c:v>
                </c:pt>
                <c:pt idx="203">
                  <c:v>25</c:v>
                </c:pt>
                <c:pt idx="204">
                  <c:v>25</c:v>
                </c:pt>
                <c:pt idx="205">
                  <c:v>25</c:v>
                </c:pt>
                <c:pt idx="206">
                  <c:v>25</c:v>
                </c:pt>
                <c:pt idx="207">
                  <c:v>25</c:v>
                </c:pt>
                <c:pt idx="208">
                  <c:v>25</c:v>
                </c:pt>
                <c:pt idx="209">
                  <c:v>25</c:v>
                </c:pt>
                <c:pt idx="210">
                  <c:v>25</c:v>
                </c:pt>
                <c:pt idx="211">
                  <c:v>25</c:v>
                </c:pt>
                <c:pt idx="212">
                  <c:v>25</c:v>
                </c:pt>
                <c:pt idx="213">
                  <c:v>25</c:v>
                </c:pt>
                <c:pt idx="214">
                  <c:v>25</c:v>
                </c:pt>
                <c:pt idx="215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B7-4167-B807-D06FF421F89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B7-4167-B807-D06FF421F89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45</c:v>
                </c:pt>
                <c:pt idx="1">
                  <c:v>386</c:v>
                </c:pt>
                <c:pt idx="2">
                  <c:v>389</c:v>
                </c:pt>
                <c:pt idx="3">
                  <c:v>328</c:v>
                </c:pt>
                <c:pt idx="4">
                  <c:v>448</c:v>
                </c:pt>
                <c:pt idx="5">
                  <c:v>16</c:v>
                </c:pt>
                <c:pt idx="6">
                  <c:v>274</c:v>
                </c:pt>
                <c:pt idx="7">
                  <c:v>385</c:v>
                </c:pt>
                <c:pt idx="8">
                  <c:v>460</c:v>
                </c:pt>
                <c:pt idx="9">
                  <c:v>481</c:v>
                </c:pt>
                <c:pt idx="10">
                  <c:v>359</c:v>
                </c:pt>
                <c:pt idx="11">
                  <c:v>316</c:v>
                </c:pt>
                <c:pt idx="12">
                  <c:v>163</c:v>
                </c:pt>
                <c:pt idx="13">
                  <c:v>313</c:v>
                </c:pt>
                <c:pt idx="14">
                  <c:v>574</c:v>
                </c:pt>
                <c:pt idx="15">
                  <c:v>637</c:v>
                </c:pt>
                <c:pt idx="16">
                  <c:v>589</c:v>
                </c:pt>
                <c:pt idx="17">
                  <c:v>517</c:v>
                </c:pt>
                <c:pt idx="18">
                  <c:v>402</c:v>
                </c:pt>
                <c:pt idx="19">
                  <c:v>192</c:v>
                </c:pt>
                <c:pt idx="20">
                  <c:v>471</c:v>
                </c:pt>
                <c:pt idx="21">
                  <c:v>769</c:v>
                </c:pt>
                <c:pt idx="22">
                  <c:v>772</c:v>
                </c:pt>
                <c:pt idx="23">
                  <c:v>301</c:v>
                </c:pt>
                <c:pt idx="24">
                  <c:v>192</c:v>
                </c:pt>
                <c:pt idx="25">
                  <c:v>192</c:v>
                </c:pt>
                <c:pt idx="26">
                  <c:v>278</c:v>
                </c:pt>
                <c:pt idx="27">
                  <c:v>642</c:v>
                </c:pt>
                <c:pt idx="28">
                  <c:v>1176</c:v>
                </c:pt>
                <c:pt idx="29">
                  <c:v>903</c:v>
                </c:pt>
                <c:pt idx="30">
                  <c:v>994</c:v>
                </c:pt>
                <c:pt idx="31">
                  <c:v>394</c:v>
                </c:pt>
                <c:pt idx="32">
                  <c:v>268</c:v>
                </c:pt>
                <c:pt idx="33">
                  <c:v>413</c:v>
                </c:pt>
                <c:pt idx="34">
                  <c:v>705</c:v>
                </c:pt>
                <c:pt idx="35">
                  <c:v>1146</c:v>
                </c:pt>
                <c:pt idx="36">
                  <c:v>1065</c:v>
                </c:pt>
                <c:pt idx="37">
                  <c:v>963</c:v>
                </c:pt>
                <c:pt idx="38">
                  <c:v>873</c:v>
                </c:pt>
                <c:pt idx="39">
                  <c:v>542</c:v>
                </c:pt>
                <c:pt idx="40">
                  <c:v>218</c:v>
                </c:pt>
                <c:pt idx="41">
                  <c:v>458</c:v>
                </c:pt>
                <c:pt idx="42">
                  <c:v>672</c:v>
                </c:pt>
                <c:pt idx="43">
                  <c:v>652</c:v>
                </c:pt>
                <c:pt idx="44">
                  <c:v>476</c:v>
                </c:pt>
                <c:pt idx="45">
                  <c:v>506</c:v>
                </c:pt>
                <c:pt idx="46">
                  <c:v>312</c:v>
                </c:pt>
                <c:pt idx="47">
                  <c:v>130</c:v>
                </c:pt>
                <c:pt idx="48">
                  <c:v>421</c:v>
                </c:pt>
                <c:pt idx="49">
                  <c:v>473</c:v>
                </c:pt>
                <c:pt idx="50">
                  <c:v>514</c:v>
                </c:pt>
                <c:pt idx="51">
                  <c:v>506</c:v>
                </c:pt>
                <c:pt idx="52">
                  <c:v>449</c:v>
                </c:pt>
                <c:pt idx="53">
                  <c:v>201</c:v>
                </c:pt>
                <c:pt idx="54">
                  <c:v>176</c:v>
                </c:pt>
                <c:pt idx="55">
                  <c:v>438</c:v>
                </c:pt>
                <c:pt idx="56">
                  <c:v>506</c:v>
                </c:pt>
                <c:pt idx="57">
                  <c:v>493</c:v>
                </c:pt>
                <c:pt idx="58">
                  <c:v>434</c:v>
                </c:pt>
                <c:pt idx="59">
                  <c:v>491</c:v>
                </c:pt>
                <c:pt idx="60">
                  <c:v>228</c:v>
                </c:pt>
                <c:pt idx="61">
                  <c:v>162</c:v>
                </c:pt>
                <c:pt idx="62">
                  <c:v>443</c:v>
                </c:pt>
                <c:pt idx="63">
                  <c:v>570</c:v>
                </c:pt>
                <c:pt idx="64">
                  <c:v>612</c:v>
                </c:pt>
                <c:pt idx="65">
                  <c:v>552</c:v>
                </c:pt>
                <c:pt idx="66">
                  <c:v>482</c:v>
                </c:pt>
                <c:pt idx="67">
                  <c:v>376</c:v>
                </c:pt>
                <c:pt idx="68">
                  <c:v>165</c:v>
                </c:pt>
                <c:pt idx="69">
                  <c:v>424</c:v>
                </c:pt>
                <c:pt idx="70">
                  <c:v>708</c:v>
                </c:pt>
                <c:pt idx="71">
                  <c:v>625</c:v>
                </c:pt>
                <c:pt idx="72">
                  <c:v>563</c:v>
                </c:pt>
                <c:pt idx="73">
                  <c:v>547</c:v>
                </c:pt>
                <c:pt idx="74">
                  <c:v>466</c:v>
                </c:pt>
                <c:pt idx="75">
                  <c:v>249</c:v>
                </c:pt>
                <c:pt idx="76">
                  <c:v>633</c:v>
                </c:pt>
                <c:pt idx="77">
                  <c:v>853</c:v>
                </c:pt>
                <c:pt idx="78">
                  <c:v>839</c:v>
                </c:pt>
                <c:pt idx="79">
                  <c:v>888</c:v>
                </c:pt>
                <c:pt idx="80">
                  <c:v>816</c:v>
                </c:pt>
                <c:pt idx="81">
                  <c:v>604</c:v>
                </c:pt>
                <c:pt idx="82">
                  <c:v>422</c:v>
                </c:pt>
                <c:pt idx="83">
                  <c:v>878</c:v>
                </c:pt>
                <c:pt idx="84">
                  <c:v>1140</c:v>
                </c:pt>
                <c:pt idx="85">
                  <c:v>1073</c:v>
                </c:pt>
                <c:pt idx="86">
                  <c:v>1127</c:v>
                </c:pt>
                <c:pt idx="87">
                  <c:v>1161</c:v>
                </c:pt>
                <c:pt idx="88">
                  <c:v>743</c:v>
                </c:pt>
                <c:pt idx="89">
                  <c:v>464</c:v>
                </c:pt>
                <c:pt idx="90">
                  <c:v>821</c:v>
                </c:pt>
                <c:pt idx="91">
                  <c:v>1373</c:v>
                </c:pt>
                <c:pt idx="92">
                  <c:v>1346</c:v>
                </c:pt>
                <c:pt idx="93">
                  <c:v>1299</c:v>
                </c:pt>
                <c:pt idx="94">
                  <c:v>1187</c:v>
                </c:pt>
                <c:pt idx="95">
                  <c:v>689</c:v>
                </c:pt>
                <c:pt idx="96">
                  <c:v>402</c:v>
                </c:pt>
                <c:pt idx="97">
                  <c:v>919</c:v>
                </c:pt>
                <c:pt idx="98">
                  <c:v>1398</c:v>
                </c:pt>
                <c:pt idx="99">
                  <c:v>1518</c:v>
                </c:pt>
                <c:pt idx="100">
                  <c:v>1146</c:v>
                </c:pt>
                <c:pt idx="101">
                  <c:v>1331</c:v>
                </c:pt>
                <c:pt idx="102">
                  <c:v>620</c:v>
                </c:pt>
                <c:pt idx="103">
                  <c:v>362</c:v>
                </c:pt>
                <c:pt idx="104">
                  <c:v>888</c:v>
                </c:pt>
                <c:pt idx="105">
                  <c:v>1236</c:v>
                </c:pt>
                <c:pt idx="106">
                  <c:v>1174</c:v>
                </c:pt>
                <c:pt idx="107">
                  <c:v>1101</c:v>
                </c:pt>
                <c:pt idx="108">
                  <c:v>1013</c:v>
                </c:pt>
                <c:pt idx="109">
                  <c:v>627</c:v>
                </c:pt>
                <c:pt idx="110">
                  <c:v>280</c:v>
                </c:pt>
                <c:pt idx="111">
                  <c:v>728</c:v>
                </c:pt>
                <c:pt idx="112">
                  <c:v>1171</c:v>
                </c:pt>
                <c:pt idx="113">
                  <c:v>918</c:v>
                </c:pt>
                <c:pt idx="114">
                  <c:v>853</c:v>
                </c:pt>
                <c:pt idx="115">
                  <c:v>832</c:v>
                </c:pt>
                <c:pt idx="116">
                  <c:v>389</c:v>
                </c:pt>
                <c:pt idx="117">
                  <c:v>267</c:v>
                </c:pt>
                <c:pt idx="118">
                  <c:v>631</c:v>
                </c:pt>
                <c:pt idx="119">
                  <c:v>914</c:v>
                </c:pt>
                <c:pt idx="120">
                  <c:v>688</c:v>
                </c:pt>
                <c:pt idx="121">
                  <c:v>516</c:v>
                </c:pt>
                <c:pt idx="122">
                  <c:v>388</c:v>
                </c:pt>
                <c:pt idx="123">
                  <c:v>324</c:v>
                </c:pt>
                <c:pt idx="124">
                  <c:v>176</c:v>
                </c:pt>
                <c:pt idx="125">
                  <c:v>145</c:v>
                </c:pt>
                <c:pt idx="126">
                  <c:v>565</c:v>
                </c:pt>
                <c:pt idx="127">
                  <c:v>640</c:v>
                </c:pt>
                <c:pt idx="128">
                  <c:v>519</c:v>
                </c:pt>
                <c:pt idx="129">
                  <c:v>463</c:v>
                </c:pt>
                <c:pt idx="130">
                  <c:v>205</c:v>
                </c:pt>
                <c:pt idx="131">
                  <c:v>129</c:v>
                </c:pt>
                <c:pt idx="132">
                  <c:v>408</c:v>
                </c:pt>
                <c:pt idx="133">
                  <c:v>505</c:v>
                </c:pt>
                <c:pt idx="134">
                  <c:v>357</c:v>
                </c:pt>
                <c:pt idx="135">
                  <c:v>325</c:v>
                </c:pt>
                <c:pt idx="136">
                  <c:v>342</c:v>
                </c:pt>
                <c:pt idx="137">
                  <c:v>142</c:v>
                </c:pt>
                <c:pt idx="138">
                  <c:v>85</c:v>
                </c:pt>
                <c:pt idx="139">
                  <c:v>310</c:v>
                </c:pt>
                <c:pt idx="140">
                  <c:v>364</c:v>
                </c:pt>
                <c:pt idx="141">
                  <c:v>286</c:v>
                </c:pt>
                <c:pt idx="142">
                  <c:v>222</c:v>
                </c:pt>
                <c:pt idx="143">
                  <c:v>251</c:v>
                </c:pt>
                <c:pt idx="144">
                  <c:v>101</c:v>
                </c:pt>
                <c:pt idx="145">
                  <c:v>118</c:v>
                </c:pt>
                <c:pt idx="146">
                  <c:v>205</c:v>
                </c:pt>
                <c:pt idx="147">
                  <c:v>320</c:v>
                </c:pt>
                <c:pt idx="148">
                  <c:v>244</c:v>
                </c:pt>
                <c:pt idx="149">
                  <c:v>216</c:v>
                </c:pt>
                <c:pt idx="150">
                  <c:v>252</c:v>
                </c:pt>
                <c:pt idx="151">
                  <c:v>122</c:v>
                </c:pt>
                <c:pt idx="152">
                  <c:v>46</c:v>
                </c:pt>
                <c:pt idx="153">
                  <c:v>230</c:v>
                </c:pt>
                <c:pt idx="154">
                  <c:v>249</c:v>
                </c:pt>
                <c:pt idx="155">
                  <c:v>163</c:v>
                </c:pt>
                <c:pt idx="156">
                  <c:v>154</c:v>
                </c:pt>
                <c:pt idx="157">
                  <c:v>123</c:v>
                </c:pt>
                <c:pt idx="158">
                  <c:v>76</c:v>
                </c:pt>
                <c:pt idx="159">
                  <c:v>20</c:v>
                </c:pt>
                <c:pt idx="160">
                  <c:v>149</c:v>
                </c:pt>
                <c:pt idx="161">
                  <c:v>103</c:v>
                </c:pt>
                <c:pt idx="162">
                  <c:v>118</c:v>
                </c:pt>
                <c:pt idx="163">
                  <c:v>86</c:v>
                </c:pt>
                <c:pt idx="164">
                  <c:v>107</c:v>
                </c:pt>
                <c:pt idx="165">
                  <c:v>44</c:v>
                </c:pt>
                <c:pt idx="166">
                  <c:v>21</c:v>
                </c:pt>
                <c:pt idx="167">
                  <c:v>102</c:v>
                </c:pt>
                <c:pt idx="168">
                  <c:v>78</c:v>
                </c:pt>
                <c:pt idx="169">
                  <c:v>56</c:v>
                </c:pt>
                <c:pt idx="170">
                  <c:v>45</c:v>
                </c:pt>
                <c:pt idx="171">
                  <c:v>43</c:v>
                </c:pt>
                <c:pt idx="172">
                  <c:v>14</c:v>
                </c:pt>
                <c:pt idx="173">
                  <c:v>20</c:v>
                </c:pt>
                <c:pt idx="174">
                  <c:v>66</c:v>
                </c:pt>
                <c:pt idx="175">
                  <c:v>52</c:v>
                </c:pt>
                <c:pt idx="176">
                  <c:v>40</c:v>
                </c:pt>
                <c:pt idx="177">
                  <c:v>36</c:v>
                </c:pt>
                <c:pt idx="178">
                  <c:v>43</c:v>
                </c:pt>
                <c:pt idx="179">
                  <c:v>16</c:v>
                </c:pt>
                <c:pt idx="18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71-4DEB-A3C6-DCB175F95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571-4DEB-A3C6-DCB175F9577E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146</c:v>
                </c:pt>
                <c:pt idx="89">
                  <c:v>1166</c:v>
                </c:pt>
                <c:pt idx="90">
                  <c:v>1183</c:v>
                </c:pt>
                <c:pt idx="91">
                  <c:v>1198</c:v>
                </c:pt>
                <c:pt idx="92">
                  <c:v>1211</c:v>
                </c:pt>
                <c:pt idx="93">
                  <c:v>1224</c:v>
                </c:pt>
                <c:pt idx="94">
                  <c:v>1236</c:v>
                </c:pt>
                <c:pt idx="95">
                  <c:v>1246</c:v>
                </c:pt>
                <c:pt idx="96">
                  <c:v>1257</c:v>
                </c:pt>
                <c:pt idx="97">
                  <c:v>1266</c:v>
                </c:pt>
                <c:pt idx="98">
                  <c:v>1275</c:v>
                </c:pt>
                <c:pt idx="99">
                  <c:v>1283</c:v>
                </c:pt>
                <c:pt idx="100">
                  <c:v>1291</c:v>
                </c:pt>
                <c:pt idx="101">
                  <c:v>1298</c:v>
                </c:pt>
                <c:pt idx="102">
                  <c:v>1304</c:v>
                </c:pt>
                <c:pt idx="103">
                  <c:v>1310</c:v>
                </c:pt>
                <c:pt idx="104">
                  <c:v>1315</c:v>
                </c:pt>
                <c:pt idx="105">
                  <c:v>1320</c:v>
                </c:pt>
                <c:pt idx="106">
                  <c:v>1324</c:v>
                </c:pt>
                <c:pt idx="107">
                  <c:v>1327</c:v>
                </c:pt>
                <c:pt idx="108">
                  <c:v>1330</c:v>
                </c:pt>
                <c:pt idx="109">
                  <c:v>1333</c:v>
                </c:pt>
                <c:pt idx="110">
                  <c:v>1335</c:v>
                </c:pt>
                <c:pt idx="111">
                  <c:v>1336</c:v>
                </c:pt>
                <c:pt idx="112">
                  <c:v>1337</c:v>
                </c:pt>
                <c:pt idx="113">
                  <c:v>1337</c:v>
                </c:pt>
                <c:pt idx="114">
                  <c:v>1337</c:v>
                </c:pt>
                <c:pt idx="115">
                  <c:v>1336</c:v>
                </c:pt>
                <c:pt idx="116">
                  <c:v>1335</c:v>
                </c:pt>
                <c:pt idx="117">
                  <c:v>1333</c:v>
                </c:pt>
                <c:pt idx="118">
                  <c:v>1331</c:v>
                </c:pt>
                <c:pt idx="119">
                  <c:v>1328</c:v>
                </c:pt>
                <c:pt idx="120">
                  <c:v>1325</c:v>
                </c:pt>
                <c:pt idx="121">
                  <c:v>1321</c:v>
                </c:pt>
                <c:pt idx="122">
                  <c:v>1317</c:v>
                </c:pt>
                <c:pt idx="123">
                  <c:v>1312</c:v>
                </c:pt>
                <c:pt idx="124">
                  <c:v>1307</c:v>
                </c:pt>
                <c:pt idx="125">
                  <c:v>1301</c:v>
                </c:pt>
                <c:pt idx="126">
                  <c:v>1295</c:v>
                </c:pt>
                <c:pt idx="127">
                  <c:v>1288</c:v>
                </c:pt>
                <c:pt idx="128">
                  <c:v>1281</c:v>
                </c:pt>
                <c:pt idx="129">
                  <c:v>1274</c:v>
                </c:pt>
                <c:pt idx="130">
                  <c:v>1266</c:v>
                </c:pt>
                <c:pt idx="131">
                  <c:v>1258</c:v>
                </c:pt>
                <c:pt idx="132">
                  <c:v>1250</c:v>
                </c:pt>
                <c:pt idx="133">
                  <c:v>1241</c:v>
                </c:pt>
                <c:pt idx="134">
                  <c:v>1231</c:v>
                </c:pt>
                <c:pt idx="135">
                  <c:v>1222</c:v>
                </c:pt>
                <c:pt idx="136">
                  <c:v>1212</c:v>
                </c:pt>
                <c:pt idx="137">
                  <c:v>1201</c:v>
                </c:pt>
                <c:pt idx="138">
                  <c:v>1191</c:v>
                </c:pt>
                <c:pt idx="139">
                  <c:v>1180</c:v>
                </c:pt>
                <c:pt idx="140">
                  <c:v>1169</c:v>
                </c:pt>
                <c:pt idx="141">
                  <c:v>1157</c:v>
                </c:pt>
                <c:pt idx="142">
                  <c:v>1146</c:v>
                </c:pt>
                <c:pt idx="143">
                  <c:v>1134</c:v>
                </c:pt>
                <c:pt idx="144">
                  <c:v>1122</c:v>
                </c:pt>
                <c:pt idx="145">
                  <c:v>1109</c:v>
                </c:pt>
                <c:pt idx="146">
                  <c:v>1097</c:v>
                </c:pt>
                <c:pt idx="147">
                  <c:v>1084</c:v>
                </c:pt>
                <c:pt idx="148">
                  <c:v>1071</c:v>
                </c:pt>
                <c:pt idx="149">
                  <c:v>1058</c:v>
                </c:pt>
                <c:pt idx="150">
                  <c:v>1045</c:v>
                </c:pt>
                <c:pt idx="151">
                  <c:v>1031</c:v>
                </c:pt>
                <c:pt idx="152">
                  <c:v>1018</c:v>
                </c:pt>
                <c:pt idx="153">
                  <c:v>1004</c:v>
                </c:pt>
                <c:pt idx="154">
                  <c:v>991</c:v>
                </c:pt>
                <c:pt idx="155">
                  <c:v>977</c:v>
                </c:pt>
                <c:pt idx="156">
                  <c:v>963</c:v>
                </c:pt>
                <c:pt idx="157">
                  <c:v>949</c:v>
                </c:pt>
                <c:pt idx="158">
                  <c:v>935</c:v>
                </c:pt>
                <c:pt idx="159">
                  <c:v>921</c:v>
                </c:pt>
                <c:pt idx="160">
                  <c:v>907</c:v>
                </c:pt>
                <c:pt idx="161">
                  <c:v>893</c:v>
                </c:pt>
                <c:pt idx="162">
                  <c:v>879</c:v>
                </c:pt>
                <c:pt idx="163">
                  <c:v>865</c:v>
                </c:pt>
                <c:pt idx="164">
                  <c:v>851</c:v>
                </c:pt>
                <c:pt idx="165">
                  <c:v>838</c:v>
                </c:pt>
                <c:pt idx="166">
                  <c:v>824</c:v>
                </c:pt>
                <c:pt idx="167">
                  <c:v>810</c:v>
                </c:pt>
                <c:pt idx="168">
                  <c:v>796</c:v>
                </c:pt>
                <c:pt idx="169">
                  <c:v>782</c:v>
                </c:pt>
                <c:pt idx="170">
                  <c:v>769</c:v>
                </c:pt>
                <c:pt idx="171">
                  <c:v>755</c:v>
                </c:pt>
                <c:pt idx="172">
                  <c:v>742</c:v>
                </c:pt>
                <c:pt idx="173">
                  <c:v>728</c:v>
                </c:pt>
                <c:pt idx="174">
                  <c:v>715</c:v>
                </c:pt>
                <c:pt idx="175">
                  <c:v>702</c:v>
                </c:pt>
                <c:pt idx="176">
                  <c:v>689</c:v>
                </c:pt>
                <c:pt idx="177">
                  <c:v>676</c:v>
                </c:pt>
                <c:pt idx="178">
                  <c:v>663</c:v>
                </c:pt>
                <c:pt idx="179">
                  <c:v>650</c:v>
                </c:pt>
                <c:pt idx="180">
                  <c:v>638</c:v>
                </c:pt>
                <c:pt idx="181">
                  <c:v>6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571-4DEB-A3C6-DCB175F9577E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134</c:v>
                </c:pt>
                <c:pt idx="89">
                  <c:v>1137</c:v>
                </c:pt>
                <c:pt idx="90">
                  <c:v>1133</c:v>
                </c:pt>
                <c:pt idx="91">
                  <c:v>1125</c:v>
                </c:pt>
                <c:pt idx="92">
                  <c:v>1115</c:v>
                </c:pt>
                <c:pt idx="93">
                  <c:v>1104</c:v>
                </c:pt>
                <c:pt idx="94">
                  <c:v>1091</c:v>
                </c:pt>
                <c:pt idx="95">
                  <c:v>1078</c:v>
                </c:pt>
                <c:pt idx="96">
                  <c:v>1065</c:v>
                </c:pt>
                <c:pt idx="97">
                  <c:v>1050</c:v>
                </c:pt>
                <c:pt idx="98">
                  <c:v>1036</c:v>
                </c:pt>
                <c:pt idx="99">
                  <c:v>1021</c:v>
                </c:pt>
                <c:pt idx="100">
                  <c:v>1005</c:v>
                </c:pt>
                <c:pt idx="101">
                  <c:v>990</c:v>
                </c:pt>
                <c:pt idx="102">
                  <c:v>974</c:v>
                </c:pt>
                <c:pt idx="103">
                  <c:v>958</c:v>
                </c:pt>
                <c:pt idx="104">
                  <c:v>942</c:v>
                </c:pt>
                <c:pt idx="105">
                  <c:v>926</c:v>
                </c:pt>
                <c:pt idx="106">
                  <c:v>910</c:v>
                </c:pt>
                <c:pt idx="107">
                  <c:v>894</c:v>
                </c:pt>
                <c:pt idx="108">
                  <c:v>878</c:v>
                </c:pt>
                <c:pt idx="109">
                  <c:v>862</c:v>
                </c:pt>
                <c:pt idx="110">
                  <c:v>846</c:v>
                </c:pt>
                <c:pt idx="111">
                  <c:v>830</c:v>
                </c:pt>
                <c:pt idx="112">
                  <c:v>814</c:v>
                </c:pt>
                <c:pt idx="113">
                  <c:v>798</c:v>
                </c:pt>
                <c:pt idx="114">
                  <c:v>783</c:v>
                </c:pt>
                <c:pt idx="115">
                  <c:v>767</c:v>
                </c:pt>
                <c:pt idx="116">
                  <c:v>752</c:v>
                </c:pt>
                <c:pt idx="117">
                  <c:v>737</c:v>
                </c:pt>
                <c:pt idx="118">
                  <c:v>722</c:v>
                </c:pt>
                <c:pt idx="119">
                  <c:v>707</c:v>
                </c:pt>
                <c:pt idx="120">
                  <c:v>692</c:v>
                </c:pt>
                <c:pt idx="121">
                  <c:v>678</c:v>
                </c:pt>
                <c:pt idx="122">
                  <c:v>664</c:v>
                </c:pt>
                <c:pt idx="123">
                  <c:v>650</c:v>
                </c:pt>
                <c:pt idx="124">
                  <c:v>636</c:v>
                </c:pt>
                <c:pt idx="125">
                  <c:v>622</c:v>
                </c:pt>
                <c:pt idx="126">
                  <c:v>609</c:v>
                </c:pt>
                <c:pt idx="127">
                  <c:v>595</c:v>
                </c:pt>
                <c:pt idx="128">
                  <c:v>582</c:v>
                </c:pt>
                <c:pt idx="129">
                  <c:v>569</c:v>
                </c:pt>
                <c:pt idx="130">
                  <c:v>557</c:v>
                </c:pt>
                <c:pt idx="131">
                  <c:v>544</c:v>
                </c:pt>
                <c:pt idx="132">
                  <c:v>532</c:v>
                </c:pt>
                <c:pt idx="133">
                  <c:v>520</c:v>
                </c:pt>
                <c:pt idx="134">
                  <c:v>508</c:v>
                </c:pt>
                <c:pt idx="135">
                  <c:v>497</c:v>
                </c:pt>
                <c:pt idx="136">
                  <c:v>485</c:v>
                </c:pt>
                <c:pt idx="137">
                  <c:v>474</c:v>
                </c:pt>
                <c:pt idx="138">
                  <c:v>463</c:v>
                </c:pt>
                <c:pt idx="139">
                  <c:v>452</c:v>
                </c:pt>
                <c:pt idx="140">
                  <c:v>442</c:v>
                </c:pt>
                <c:pt idx="141">
                  <c:v>432</c:v>
                </c:pt>
                <c:pt idx="142">
                  <c:v>421</c:v>
                </c:pt>
                <c:pt idx="143">
                  <c:v>411</c:v>
                </c:pt>
                <c:pt idx="144">
                  <c:v>402</c:v>
                </c:pt>
                <c:pt idx="145">
                  <c:v>392</c:v>
                </c:pt>
                <c:pt idx="146">
                  <c:v>383</c:v>
                </c:pt>
                <c:pt idx="147">
                  <c:v>374</c:v>
                </c:pt>
                <c:pt idx="148">
                  <c:v>365</c:v>
                </c:pt>
                <c:pt idx="149">
                  <c:v>356</c:v>
                </c:pt>
                <c:pt idx="150">
                  <c:v>347</c:v>
                </c:pt>
                <c:pt idx="151">
                  <c:v>339</c:v>
                </c:pt>
                <c:pt idx="152">
                  <c:v>331</c:v>
                </c:pt>
                <c:pt idx="153">
                  <c:v>323</c:v>
                </c:pt>
                <c:pt idx="154">
                  <c:v>315</c:v>
                </c:pt>
                <c:pt idx="155">
                  <c:v>307</c:v>
                </c:pt>
                <c:pt idx="156">
                  <c:v>299</c:v>
                </c:pt>
                <c:pt idx="157">
                  <c:v>292</c:v>
                </c:pt>
                <c:pt idx="158">
                  <c:v>285</c:v>
                </c:pt>
                <c:pt idx="159">
                  <c:v>278</c:v>
                </c:pt>
                <c:pt idx="160">
                  <c:v>271</c:v>
                </c:pt>
                <c:pt idx="161">
                  <c:v>264</c:v>
                </c:pt>
                <c:pt idx="162">
                  <c:v>257</c:v>
                </c:pt>
                <c:pt idx="163">
                  <c:v>251</c:v>
                </c:pt>
                <c:pt idx="164">
                  <c:v>245</c:v>
                </c:pt>
                <c:pt idx="165">
                  <c:v>239</c:v>
                </c:pt>
                <c:pt idx="166">
                  <c:v>233</c:v>
                </c:pt>
                <c:pt idx="167">
                  <c:v>227</c:v>
                </c:pt>
                <c:pt idx="168">
                  <c:v>221</c:v>
                </c:pt>
                <c:pt idx="169">
                  <c:v>215</c:v>
                </c:pt>
                <c:pt idx="170">
                  <c:v>210</c:v>
                </c:pt>
                <c:pt idx="171">
                  <c:v>205</c:v>
                </c:pt>
                <c:pt idx="172">
                  <c:v>199</c:v>
                </c:pt>
                <c:pt idx="173">
                  <c:v>194</c:v>
                </c:pt>
                <c:pt idx="174">
                  <c:v>189</c:v>
                </c:pt>
                <c:pt idx="175">
                  <c:v>184</c:v>
                </c:pt>
                <c:pt idx="176">
                  <c:v>180</c:v>
                </c:pt>
                <c:pt idx="177">
                  <c:v>175</c:v>
                </c:pt>
                <c:pt idx="178">
                  <c:v>171</c:v>
                </c:pt>
                <c:pt idx="179">
                  <c:v>166</c:v>
                </c:pt>
                <c:pt idx="180">
                  <c:v>162</c:v>
                </c:pt>
                <c:pt idx="181">
                  <c:v>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571-4DEB-A3C6-DCB175F95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50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2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61</c:v>
                </c:pt>
                <c:pt idx="99">
                  <c:v>14537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3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1</c:v>
                </c:pt>
                <c:pt idx="108">
                  <c:v>9709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3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3</c:v>
                </c:pt>
                <c:pt idx="127">
                  <c:v>7052</c:v>
                </c:pt>
                <c:pt idx="128">
                  <c:v>5281</c:v>
                </c:pt>
                <c:pt idx="129">
                  <c:v>4819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8</c:v>
                </c:pt>
                <c:pt idx="149">
                  <c:v>2228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3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6</c:v>
                </c:pt>
                <c:pt idx="167">
                  <c:v>1129</c:v>
                </c:pt>
                <c:pt idx="168">
                  <c:v>1198</c:v>
                </c:pt>
                <c:pt idx="169">
                  <c:v>778</c:v>
                </c:pt>
                <c:pt idx="170">
                  <c:v>679</c:v>
                </c:pt>
                <c:pt idx="171">
                  <c:v>671</c:v>
                </c:pt>
                <c:pt idx="172">
                  <c:v>333</c:v>
                </c:pt>
                <c:pt idx="173">
                  <c:v>196</c:v>
                </c:pt>
                <c:pt idx="174">
                  <c:v>697</c:v>
                </c:pt>
                <c:pt idx="175">
                  <c:v>658</c:v>
                </c:pt>
                <c:pt idx="176">
                  <c:v>539</c:v>
                </c:pt>
                <c:pt idx="177">
                  <c:v>506</c:v>
                </c:pt>
                <c:pt idx="178">
                  <c:v>456</c:v>
                </c:pt>
                <c:pt idx="179">
                  <c:v>222</c:v>
                </c:pt>
                <c:pt idx="180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G$93:$G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09.7547346826841</c:v>
                </c:pt>
                <c:pt idx="141" formatCode="#,##0">
                  <c:v>3493.2671870488753</c:v>
                </c:pt>
                <c:pt idx="142" formatCode="#,##0">
                  <c:v>3379.7201969371345</c:v>
                </c:pt>
                <c:pt idx="143" formatCode="#,##0">
                  <c:v>3269.0982845634344</c:v>
                </c:pt>
                <c:pt idx="144" formatCode="#,##0">
                  <c:v>3161.4788453360129</c:v>
                </c:pt>
                <c:pt idx="145" formatCode="#,##0">
                  <c:v>3056.8756506496816</c:v>
                </c:pt>
                <c:pt idx="146" formatCode="#,##0">
                  <c:v>2955.263682521128</c:v>
                </c:pt>
                <c:pt idx="147" formatCode="#,##0">
                  <c:v>2856.5950830364159</c:v>
                </c:pt>
                <c:pt idx="148" formatCode="#,##0">
                  <c:v>2760.8092849306327</c:v>
                </c:pt>
                <c:pt idx="149" formatCode="#,##0">
                  <c:v>2667.8393428623863</c:v>
                </c:pt>
                <c:pt idx="150" formatCode="#,##0">
                  <c:v>2577.6157983374615</c:v>
                </c:pt>
                <c:pt idx="151" formatCode="#,##0">
                  <c:v>2490.0689580300646</c:v>
                </c:pt>
                <c:pt idx="152" formatCode="#,##0">
                  <c:v>2405.1301648471999</c:v>
                </c:pt>
                <c:pt idx="153" formatCode="#,##0">
                  <c:v>2322.7324415182925</c:v>
                </c:pt>
                <c:pt idx="154" formatCode="#,##0">
                  <c:v>2242.8107538731028</c:v>
                </c:pt>
                <c:pt idx="155" formatCode="#,##0">
                  <c:v>2165.3020529749319</c:v>
                </c:pt>
                <c:pt idx="156" formatCode="#,##0">
                  <c:v>2090.1451970928133</c:v>
                </c:pt>
                <c:pt idx="157" formatCode="#,##0">
                  <c:v>2017.2808162434233</c:v>
                </c:pt>
                <c:pt idx="158" formatCode="#,##0">
                  <c:v>1946.6511570911789</c:v>
                </c:pt>
                <c:pt idx="159" formatCode="#,##0">
                  <c:v>1876.7764437657638</c:v>
                </c:pt>
                <c:pt idx="160" formatCode="#,##0">
                  <c:v>1806.9948930583569</c:v>
                </c:pt>
                <c:pt idx="161" formatCode="#,##0">
                  <c:v>1737.1294337300574</c:v>
                </c:pt>
                <c:pt idx="162" formatCode="#,##0">
                  <c:v>1667.2344082769919</c:v>
                </c:pt>
                <c:pt idx="163" formatCode="#,##0">
                  <c:v>1597.632388162375</c:v>
                </c:pt>
                <c:pt idx="164" formatCode="#,##0">
                  <c:v>1528.6142668625741</c:v>
                </c:pt>
                <c:pt idx="165" formatCode="#,##0">
                  <c:v>1460.4380239323395</c:v>
                </c:pt>
                <c:pt idx="166" formatCode="#,##0">
                  <c:v>1393.3302245246157</c:v>
                </c:pt>
                <c:pt idx="167" formatCode="#,##0">
                  <c:v>1327.4883564475529</c:v>
                </c:pt>
                <c:pt idx="168" formatCode="#,##0">
                  <c:v>1263.3138355689778</c:v>
                </c:pt>
                <c:pt idx="169" formatCode="#,##0">
                  <c:v>1201.0440251995058</c:v>
                </c:pt>
                <c:pt idx="170" formatCode="#,##0">
                  <c:v>1140.8128591460841</c:v>
                </c:pt>
                <c:pt idx="171" formatCode="#,##0">
                  <c:v>1082.6891558147577</c:v>
                </c:pt>
                <c:pt idx="172" formatCode="#,##0">
                  <c:v>1026.7007613243163</c:v>
                </c:pt>
                <c:pt idx="173" formatCode="#,##0">
                  <c:v>972.84968294209114</c:v>
                </c:pt>
                <c:pt idx="174" formatCode="#,##0">
                  <c:v>921.12150496045706</c:v>
                </c:pt>
                <c:pt idx="175" formatCode="#,##0">
                  <c:v>871.64745552548391</c:v>
                </c:pt>
                <c:pt idx="176" formatCode="#,##0">
                  <c:v>824.76256741152724</c:v>
                </c:pt>
                <c:pt idx="177" formatCode="#,##0">
                  <c:v>780.55320998582943</c:v>
                </c:pt>
                <c:pt idx="178" formatCode="#,##0">
                  <c:v>738.96800632447344</c:v>
                </c:pt>
                <c:pt idx="179" formatCode="#,##0">
                  <c:v>699.88390304256825</c:v>
                </c:pt>
                <c:pt idx="180" formatCode="#,##0">
                  <c:v>663.14514194385958</c:v>
                </c:pt>
                <c:pt idx="181" formatCode="#,##0">
                  <c:v>628.5858097250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45</c:v>
                </c:pt>
                <c:pt idx="1">
                  <c:v>386</c:v>
                </c:pt>
                <c:pt idx="2">
                  <c:v>389</c:v>
                </c:pt>
                <c:pt idx="3">
                  <c:v>328</c:v>
                </c:pt>
                <c:pt idx="4">
                  <c:v>448</c:v>
                </c:pt>
                <c:pt idx="5">
                  <c:v>16</c:v>
                </c:pt>
                <c:pt idx="6">
                  <c:v>274</c:v>
                </c:pt>
                <c:pt idx="7">
                  <c:v>385</c:v>
                </c:pt>
                <c:pt idx="8">
                  <c:v>460</c:v>
                </c:pt>
                <c:pt idx="9">
                  <c:v>481</c:v>
                </c:pt>
                <c:pt idx="10">
                  <c:v>359</c:v>
                </c:pt>
                <c:pt idx="11">
                  <c:v>316</c:v>
                </c:pt>
                <c:pt idx="12">
                  <c:v>163</c:v>
                </c:pt>
                <c:pt idx="13">
                  <c:v>313</c:v>
                </c:pt>
                <c:pt idx="14">
                  <c:v>574</c:v>
                </c:pt>
                <c:pt idx="15">
                  <c:v>637</c:v>
                </c:pt>
                <c:pt idx="16">
                  <c:v>589</c:v>
                </c:pt>
                <c:pt idx="17">
                  <c:v>517</c:v>
                </c:pt>
                <c:pt idx="18">
                  <c:v>402</c:v>
                </c:pt>
                <c:pt idx="19">
                  <c:v>192</c:v>
                </c:pt>
                <c:pt idx="20">
                  <c:v>471</c:v>
                </c:pt>
                <c:pt idx="21">
                  <c:v>769</c:v>
                </c:pt>
                <c:pt idx="22">
                  <c:v>772</c:v>
                </c:pt>
                <c:pt idx="23">
                  <c:v>301</c:v>
                </c:pt>
                <c:pt idx="24">
                  <c:v>192</c:v>
                </c:pt>
                <c:pt idx="25">
                  <c:v>192</c:v>
                </c:pt>
                <c:pt idx="26">
                  <c:v>278</c:v>
                </c:pt>
                <c:pt idx="27">
                  <c:v>642</c:v>
                </c:pt>
                <c:pt idx="28">
                  <c:v>1176</c:v>
                </c:pt>
                <c:pt idx="29">
                  <c:v>903</c:v>
                </c:pt>
                <c:pt idx="30">
                  <c:v>994</c:v>
                </c:pt>
                <c:pt idx="31">
                  <c:v>394</c:v>
                </c:pt>
                <c:pt idx="32">
                  <c:v>268</c:v>
                </c:pt>
                <c:pt idx="33">
                  <c:v>413</c:v>
                </c:pt>
                <c:pt idx="34">
                  <c:v>705</c:v>
                </c:pt>
                <c:pt idx="35">
                  <c:v>1146</c:v>
                </c:pt>
                <c:pt idx="36">
                  <c:v>1065</c:v>
                </c:pt>
                <c:pt idx="37">
                  <c:v>963</c:v>
                </c:pt>
                <c:pt idx="38">
                  <c:v>873</c:v>
                </c:pt>
                <c:pt idx="39">
                  <c:v>542</c:v>
                </c:pt>
                <c:pt idx="40">
                  <c:v>218</c:v>
                </c:pt>
                <c:pt idx="41">
                  <c:v>458</c:v>
                </c:pt>
                <c:pt idx="42">
                  <c:v>672</c:v>
                </c:pt>
                <c:pt idx="43">
                  <c:v>652</c:v>
                </c:pt>
                <c:pt idx="44">
                  <c:v>476</c:v>
                </c:pt>
                <c:pt idx="45">
                  <c:v>506</c:v>
                </c:pt>
                <c:pt idx="46">
                  <c:v>312</c:v>
                </c:pt>
                <c:pt idx="47">
                  <c:v>130</c:v>
                </c:pt>
                <c:pt idx="48">
                  <c:v>421</c:v>
                </c:pt>
                <c:pt idx="49">
                  <c:v>473</c:v>
                </c:pt>
                <c:pt idx="50">
                  <c:v>514</c:v>
                </c:pt>
                <c:pt idx="51">
                  <c:v>506</c:v>
                </c:pt>
                <c:pt idx="52">
                  <c:v>449</c:v>
                </c:pt>
                <c:pt idx="53">
                  <c:v>201</c:v>
                </c:pt>
                <c:pt idx="54">
                  <c:v>176</c:v>
                </c:pt>
                <c:pt idx="55">
                  <c:v>438</c:v>
                </c:pt>
                <c:pt idx="56">
                  <c:v>506</c:v>
                </c:pt>
                <c:pt idx="57">
                  <c:v>493</c:v>
                </c:pt>
                <c:pt idx="58">
                  <c:v>434</c:v>
                </c:pt>
                <c:pt idx="59">
                  <c:v>491</c:v>
                </c:pt>
                <c:pt idx="60">
                  <c:v>228</c:v>
                </c:pt>
                <c:pt idx="61">
                  <c:v>162</c:v>
                </c:pt>
                <c:pt idx="62">
                  <c:v>443</c:v>
                </c:pt>
                <c:pt idx="63">
                  <c:v>570</c:v>
                </c:pt>
                <c:pt idx="64">
                  <c:v>612</c:v>
                </c:pt>
                <c:pt idx="65">
                  <c:v>552</c:v>
                </c:pt>
                <c:pt idx="66">
                  <c:v>482</c:v>
                </c:pt>
                <c:pt idx="67">
                  <c:v>376</c:v>
                </c:pt>
                <c:pt idx="68">
                  <c:v>165</c:v>
                </c:pt>
                <c:pt idx="69">
                  <c:v>424</c:v>
                </c:pt>
                <c:pt idx="70">
                  <c:v>708</c:v>
                </c:pt>
                <c:pt idx="71">
                  <c:v>625</c:v>
                </c:pt>
                <c:pt idx="72">
                  <c:v>563</c:v>
                </c:pt>
                <c:pt idx="73">
                  <c:v>547</c:v>
                </c:pt>
                <c:pt idx="74">
                  <c:v>466</c:v>
                </c:pt>
                <c:pt idx="75">
                  <c:v>249</c:v>
                </c:pt>
                <c:pt idx="76">
                  <c:v>633</c:v>
                </c:pt>
                <c:pt idx="77">
                  <c:v>853</c:v>
                </c:pt>
                <c:pt idx="78">
                  <c:v>839</c:v>
                </c:pt>
                <c:pt idx="79">
                  <c:v>888</c:v>
                </c:pt>
                <c:pt idx="80">
                  <c:v>816</c:v>
                </c:pt>
                <c:pt idx="81">
                  <c:v>604</c:v>
                </c:pt>
                <c:pt idx="82">
                  <c:v>422</c:v>
                </c:pt>
                <c:pt idx="83">
                  <c:v>878</c:v>
                </c:pt>
                <c:pt idx="84">
                  <c:v>1140</c:v>
                </c:pt>
                <c:pt idx="85">
                  <c:v>1073</c:v>
                </c:pt>
                <c:pt idx="86">
                  <c:v>1127</c:v>
                </c:pt>
                <c:pt idx="87">
                  <c:v>1161</c:v>
                </c:pt>
                <c:pt idx="88">
                  <c:v>743</c:v>
                </c:pt>
                <c:pt idx="89">
                  <c:v>464</c:v>
                </c:pt>
                <c:pt idx="90">
                  <c:v>821</c:v>
                </c:pt>
                <c:pt idx="91">
                  <c:v>1373</c:v>
                </c:pt>
                <c:pt idx="92">
                  <c:v>1346</c:v>
                </c:pt>
                <c:pt idx="93">
                  <c:v>1299</c:v>
                </c:pt>
                <c:pt idx="94">
                  <c:v>1187</c:v>
                </c:pt>
                <c:pt idx="95">
                  <c:v>689</c:v>
                </c:pt>
                <c:pt idx="96">
                  <c:v>402</c:v>
                </c:pt>
                <c:pt idx="97">
                  <c:v>919</c:v>
                </c:pt>
                <c:pt idx="98">
                  <c:v>1398</c:v>
                </c:pt>
                <c:pt idx="99">
                  <c:v>1518</c:v>
                </c:pt>
                <c:pt idx="100">
                  <c:v>1146</c:v>
                </c:pt>
                <c:pt idx="101">
                  <c:v>1331</c:v>
                </c:pt>
                <c:pt idx="102">
                  <c:v>620</c:v>
                </c:pt>
                <c:pt idx="103">
                  <c:v>362</c:v>
                </c:pt>
                <c:pt idx="104">
                  <c:v>888</c:v>
                </c:pt>
                <c:pt idx="105">
                  <c:v>1236</c:v>
                </c:pt>
                <c:pt idx="106">
                  <c:v>1174</c:v>
                </c:pt>
                <c:pt idx="107">
                  <c:v>1101</c:v>
                </c:pt>
                <c:pt idx="108">
                  <c:v>1013</c:v>
                </c:pt>
                <c:pt idx="109">
                  <c:v>627</c:v>
                </c:pt>
                <c:pt idx="110">
                  <c:v>280</c:v>
                </c:pt>
                <c:pt idx="111">
                  <c:v>728</c:v>
                </c:pt>
                <c:pt idx="112">
                  <c:v>1171</c:v>
                </c:pt>
                <c:pt idx="113">
                  <c:v>918</c:v>
                </c:pt>
                <c:pt idx="114">
                  <c:v>853</c:v>
                </c:pt>
                <c:pt idx="115">
                  <c:v>832</c:v>
                </c:pt>
                <c:pt idx="116">
                  <c:v>389</c:v>
                </c:pt>
                <c:pt idx="117">
                  <c:v>267</c:v>
                </c:pt>
                <c:pt idx="118">
                  <c:v>631</c:v>
                </c:pt>
                <c:pt idx="119">
                  <c:v>914</c:v>
                </c:pt>
                <c:pt idx="120">
                  <c:v>688</c:v>
                </c:pt>
                <c:pt idx="121">
                  <c:v>516</c:v>
                </c:pt>
                <c:pt idx="122">
                  <c:v>388</c:v>
                </c:pt>
                <c:pt idx="123">
                  <c:v>324</c:v>
                </c:pt>
                <c:pt idx="124">
                  <c:v>176</c:v>
                </c:pt>
                <c:pt idx="125">
                  <c:v>145</c:v>
                </c:pt>
                <c:pt idx="126">
                  <c:v>565</c:v>
                </c:pt>
                <c:pt idx="127">
                  <c:v>640</c:v>
                </c:pt>
                <c:pt idx="128">
                  <c:v>519</c:v>
                </c:pt>
                <c:pt idx="129">
                  <c:v>463</c:v>
                </c:pt>
                <c:pt idx="130">
                  <c:v>205</c:v>
                </c:pt>
                <c:pt idx="131">
                  <c:v>129</c:v>
                </c:pt>
                <c:pt idx="132">
                  <c:v>408</c:v>
                </c:pt>
                <c:pt idx="133">
                  <c:v>505</c:v>
                </c:pt>
                <c:pt idx="134">
                  <c:v>357</c:v>
                </c:pt>
                <c:pt idx="135">
                  <c:v>325</c:v>
                </c:pt>
                <c:pt idx="136">
                  <c:v>342</c:v>
                </c:pt>
                <c:pt idx="137">
                  <c:v>142</c:v>
                </c:pt>
                <c:pt idx="138">
                  <c:v>85</c:v>
                </c:pt>
                <c:pt idx="139">
                  <c:v>310</c:v>
                </c:pt>
                <c:pt idx="140">
                  <c:v>364</c:v>
                </c:pt>
                <c:pt idx="141">
                  <c:v>286</c:v>
                </c:pt>
                <c:pt idx="142">
                  <c:v>222</c:v>
                </c:pt>
                <c:pt idx="143">
                  <c:v>251</c:v>
                </c:pt>
                <c:pt idx="144">
                  <c:v>101</c:v>
                </c:pt>
                <c:pt idx="145">
                  <c:v>118</c:v>
                </c:pt>
                <c:pt idx="146">
                  <c:v>205</c:v>
                </c:pt>
                <c:pt idx="147">
                  <c:v>320</c:v>
                </c:pt>
                <c:pt idx="148">
                  <c:v>244</c:v>
                </c:pt>
                <c:pt idx="149">
                  <c:v>216</c:v>
                </c:pt>
                <c:pt idx="150">
                  <c:v>252</c:v>
                </c:pt>
                <c:pt idx="151">
                  <c:v>122</c:v>
                </c:pt>
                <c:pt idx="152">
                  <c:v>46</c:v>
                </c:pt>
                <c:pt idx="153">
                  <c:v>230</c:v>
                </c:pt>
                <c:pt idx="154">
                  <c:v>249</c:v>
                </c:pt>
                <c:pt idx="155">
                  <c:v>163</c:v>
                </c:pt>
                <c:pt idx="156">
                  <c:v>154</c:v>
                </c:pt>
                <c:pt idx="157">
                  <c:v>123</c:v>
                </c:pt>
                <c:pt idx="158">
                  <c:v>76</c:v>
                </c:pt>
                <c:pt idx="159">
                  <c:v>20</c:v>
                </c:pt>
                <c:pt idx="160">
                  <c:v>149</c:v>
                </c:pt>
                <c:pt idx="161">
                  <c:v>103</c:v>
                </c:pt>
                <c:pt idx="162">
                  <c:v>118</c:v>
                </c:pt>
                <c:pt idx="163">
                  <c:v>86</c:v>
                </c:pt>
                <c:pt idx="164">
                  <c:v>107</c:v>
                </c:pt>
                <c:pt idx="165">
                  <c:v>44</c:v>
                </c:pt>
                <c:pt idx="166">
                  <c:v>21</c:v>
                </c:pt>
                <c:pt idx="167">
                  <c:v>102</c:v>
                </c:pt>
                <c:pt idx="168">
                  <c:v>78</c:v>
                </c:pt>
                <c:pt idx="169">
                  <c:v>56</c:v>
                </c:pt>
                <c:pt idx="170">
                  <c:v>45</c:v>
                </c:pt>
                <c:pt idx="171">
                  <c:v>43</c:v>
                </c:pt>
                <c:pt idx="172">
                  <c:v>14</c:v>
                </c:pt>
                <c:pt idx="173">
                  <c:v>20</c:v>
                </c:pt>
                <c:pt idx="174">
                  <c:v>66</c:v>
                </c:pt>
                <c:pt idx="175">
                  <c:v>52</c:v>
                </c:pt>
                <c:pt idx="176">
                  <c:v>40</c:v>
                </c:pt>
                <c:pt idx="177">
                  <c:v>36</c:v>
                </c:pt>
                <c:pt idx="178">
                  <c:v>43</c:v>
                </c:pt>
                <c:pt idx="179">
                  <c:v>16</c:v>
                </c:pt>
                <c:pt idx="18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035</c:v>
                </c:pt>
                <c:pt idx="89">
                  <c:v>1035</c:v>
                </c:pt>
                <c:pt idx="90">
                  <c:v>1029</c:v>
                </c:pt>
                <c:pt idx="91">
                  <c:v>1019</c:v>
                </c:pt>
                <c:pt idx="92">
                  <c:v>1007</c:v>
                </c:pt>
                <c:pt idx="93">
                  <c:v>994</c:v>
                </c:pt>
                <c:pt idx="94">
                  <c:v>980</c:v>
                </c:pt>
                <c:pt idx="95">
                  <c:v>966</c:v>
                </c:pt>
                <c:pt idx="96">
                  <c:v>951</c:v>
                </c:pt>
                <c:pt idx="97">
                  <c:v>935</c:v>
                </c:pt>
                <c:pt idx="98">
                  <c:v>919</c:v>
                </c:pt>
                <c:pt idx="99">
                  <c:v>903</c:v>
                </c:pt>
                <c:pt idx="100">
                  <c:v>886</c:v>
                </c:pt>
                <c:pt idx="101">
                  <c:v>869</c:v>
                </c:pt>
                <c:pt idx="102">
                  <c:v>852</c:v>
                </c:pt>
                <c:pt idx="103">
                  <c:v>835</c:v>
                </c:pt>
                <c:pt idx="104">
                  <c:v>818</c:v>
                </c:pt>
                <c:pt idx="105">
                  <c:v>800</c:v>
                </c:pt>
                <c:pt idx="106">
                  <c:v>783</c:v>
                </c:pt>
                <c:pt idx="107">
                  <c:v>765</c:v>
                </c:pt>
                <c:pt idx="108">
                  <c:v>748</c:v>
                </c:pt>
                <c:pt idx="109">
                  <c:v>730</c:v>
                </c:pt>
                <c:pt idx="110">
                  <c:v>713</c:v>
                </c:pt>
                <c:pt idx="111">
                  <c:v>695</c:v>
                </c:pt>
                <c:pt idx="112">
                  <c:v>678</c:v>
                </c:pt>
                <c:pt idx="113">
                  <c:v>661</c:v>
                </c:pt>
                <c:pt idx="114">
                  <c:v>645</c:v>
                </c:pt>
                <c:pt idx="115">
                  <c:v>628</c:v>
                </c:pt>
                <c:pt idx="116">
                  <c:v>611</c:v>
                </c:pt>
                <c:pt idx="117">
                  <c:v>595</c:v>
                </c:pt>
                <c:pt idx="118">
                  <c:v>579</c:v>
                </c:pt>
                <c:pt idx="119">
                  <c:v>564</c:v>
                </c:pt>
                <c:pt idx="120">
                  <c:v>549</c:v>
                </c:pt>
                <c:pt idx="121">
                  <c:v>534</c:v>
                </c:pt>
                <c:pt idx="122">
                  <c:v>519</c:v>
                </c:pt>
                <c:pt idx="123">
                  <c:v>504</c:v>
                </c:pt>
                <c:pt idx="124">
                  <c:v>490</c:v>
                </c:pt>
                <c:pt idx="125">
                  <c:v>477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5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5</c:v>
                </c:pt>
                <c:pt idx="135">
                  <c:v>354</c:v>
                </c:pt>
                <c:pt idx="136">
                  <c:v>343</c:v>
                </c:pt>
                <c:pt idx="137">
                  <c:v>333</c:v>
                </c:pt>
                <c:pt idx="138">
                  <c:v>322</c:v>
                </c:pt>
                <c:pt idx="139">
                  <c:v>312</c:v>
                </c:pt>
                <c:pt idx="140">
                  <c:v>302</c:v>
                </c:pt>
                <c:pt idx="141">
                  <c:v>292</c:v>
                </c:pt>
                <c:pt idx="142">
                  <c:v>283</c:v>
                </c:pt>
                <c:pt idx="143">
                  <c:v>273</c:v>
                </c:pt>
                <c:pt idx="144">
                  <c:v>264</c:v>
                </c:pt>
                <c:pt idx="145">
                  <c:v>256</c:v>
                </c:pt>
                <c:pt idx="146">
                  <c:v>247</c:v>
                </c:pt>
                <c:pt idx="147">
                  <c:v>239</c:v>
                </c:pt>
                <c:pt idx="148">
                  <c:v>231</c:v>
                </c:pt>
                <c:pt idx="149">
                  <c:v>223</c:v>
                </c:pt>
                <c:pt idx="150">
                  <c:v>216</c:v>
                </c:pt>
                <c:pt idx="151">
                  <c:v>208</c:v>
                </c:pt>
                <c:pt idx="152">
                  <c:v>201</c:v>
                </c:pt>
                <c:pt idx="153">
                  <c:v>194</c:v>
                </c:pt>
                <c:pt idx="154">
                  <c:v>188</c:v>
                </c:pt>
                <c:pt idx="155">
                  <c:v>181</c:v>
                </c:pt>
                <c:pt idx="156">
                  <c:v>175</c:v>
                </c:pt>
                <c:pt idx="157">
                  <c:v>169</c:v>
                </c:pt>
                <c:pt idx="158">
                  <c:v>163</c:v>
                </c:pt>
                <c:pt idx="159">
                  <c:v>157</c:v>
                </c:pt>
                <c:pt idx="160">
                  <c:v>151</c:v>
                </c:pt>
                <c:pt idx="161">
                  <c:v>145</c:v>
                </c:pt>
                <c:pt idx="162">
                  <c:v>139</c:v>
                </c:pt>
                <c:pt idx="163">
                  <c:v>134</c:v>
                </c:pt>
                <c:pt idx="164">
                  <c:v>128</c:v>
                </c:pt>
                <c:pt idx="165">
                  <c:v>122</c:v>
                </c:pt>
                <c:pt idx="166">
                  <c:v>116</c:v>
                </c:pt>
                <c:pt idx="167">
                  <c:v>111</c:v>
                </c:pt>
                <c:pt idx="168">
                  <c:v>106</c:v>
                </c:pt>
                <c:pt idx="169">
                  <c:v>100</c:v>
                </c:pt>
                <c:pt idx="170">
                  <c:v>95</c:v>
                </c:pt>
                <c:pt idx="171">
                  <c:v>91</c:v>
                </c:pt>
                <c:pt idx="172">
                  <c:v>86</c:v>
                </c:pt>
                <c:pt idx="173">
                  <c:v>81</c:v>
                </c:pt>
                <c:pt idx="174">
                  <c:v>77</c:v>
                </c:pt>
                <c:pt idx="175">
                  <c:v>73</c:v>
                </c:pt>
                <c:pt idx="176">
                  <c:v>69</c:v>
                </c:pt>
                <c:pt idx="177">
                  <c:v>65</c:v>
                </c:pt>
                <c:pt idx="178">
                  <c:v>62</c:v>
                </c:pt>
                <c:pt idx="179">
                  <c:v>59</c:v>
                </c:pt>
                <c:pt idx="180">
                  <c:v>55</c:v>
                </c:pt>
                <c:pt idx="181">
                  <c:v>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134</c:v>
                </c:pt>
                <c:pt idx="89">
                  <c:v>1137</c:v>
                </c:pt>
                <c:pt idx="90">
                  <c:v>1133</c:v>
                </c:pt>
                <c:pt idx="91">
                  <c:v>1125</c:v>
                </c:pt>
                <c:pt idx="92">
                  <c:v>1115</c:v>
                </c:pt>
                <c:pt idx="93">
                  <c:v>1104</c:v>
                </c:pt>
                <c:pt idx="94">
                  <c:v>1091</c:v>
                </c:pt>
                <c:pt idx="95">
                  <c:v>1078</c:v>
                </c:pt>
                <c:pt idx="96">
                  <c:v>1065</c:v>
                </c:pt>
                <c:pt idx="97">
                  <c:v>1050</c:v>
                </c:pt>
                <c:pt idx="98">
                  <c:v>1036</c:v>
                </c:pt>
                <c:pt idx="99">
                  <c:v>1021</c:v>
                </c:pt>
                <c:pt idx="100">
                  <c:v>1005</c:v>
                </c:pt>
                <c:pt idx="101">
                  <c:v>990</c:v>
                </c:pt>
                <c:pt idx="102">
                  <c:v>974</c:v>
                </c:pt>
                <c:pt idx="103">
                  <c:v>958</c:v>
                </c:pt>
                <c:pt idx="104">
                  <c:v>942</c:v>
                </c:pt>
                <c:pt idx="105">
                  <c:v>926</c:v>
                </c:pt>
                <c:pt idx="106">
                  <c:v>910</c:v>
                </c:pt>
                <c:pt idx="107">
                  <c:v>894</c:v>
                </c:pt>
                <c:pt idx="108">
                  <c:v>878</c:v>
                </c:pt>
                <c:pt idx="109">
                  <c:v>862</c:v>
                </c:pt>
                <c:pt idx="110">
                  <c:v>846</c:v>
                </c:pt>
                <c:pt idx="111">
                  <c:v>830</c:v>
                </c:pt>
                <c:pt idx="112">
                  <c:v>814</c:v>
                </c:pt>
                <c:pt idx="113">
                  <c:v>798</c:v>
                </c:pt>
                <c:pt idx="114">
                  <c:v>783</c:v>
                </c:pt>
                <c:pt idx="115">
                  <c:v>767</c:v>
                </c:pt>
                <c:pt idx="116">
                  <c:v>752</c:v>
                </c:pt>
                <c:pt idx="117">
                  <c:v>737</c:v>
                </c:pt>
                <c:pt idx="118">
                  <c:v>722</c:v>
                </c:pt>
                <c:pt idx="119">
                  <c:v>707</c:v>
                </c:pt>
                <c:pt idx="120">
                  <c:v>692</c:v>
                </c:pt>
                <c:pt idx="121">
                  <c:v>678</c:v>
                </c:pt>
                <c:pt idx="122">
                  <c:v>664</c:v>
                </c:pt>
                <c:pt idx="123">
                  <c:v>650</c:v>
                </c:pt>
                <c:pt idx="124">
                  <c:v>636</c:v>
                </c:pt>
                <c:pt idx="125">
                  <c:v>622</c:v>
                </c:pt>
                <c:pt idx="126">
                  <c:v>609</c:v>
                </c:pt>
                <c:pt idx="127">
                  <c:v>595</c:v>
                </c:pt>
                <c:pt idx="128">
                  <c:v>582</c:v>
                </c:pt>
                <c:pt idx="129">
                  <c:v>569</c:v>
                </c:pt>
                <c:pt idx="130">
                  <c:v>557</c:v>
                </c:pt>
                <c:pt idx="131">
                  <c:v>544</c:v>
                </c:pt>
                <c:pt idx="132">
                  <c:v>532</c:v>
                </c:pt>
                <c:pt idx="133">
                  <c:v>520</c:v>
                </c:pt>
                <c:pt idx="134">
                  <c:v>508</c:v>
                </c:pt>
                <c:pt idx="135">
                  <c:v>497</c:v>
                </c:pt>
                <c:pt idx="136">
                  <c:v>485</c:v>
                </c:pt>
                <c:pt idx="137">
                  <c:v>474</c:v>
                </c:pt>
                <c:pt idx="138">
                  <c:v>463</c:v>
                </c:pt>
                <c:pt idx="139">
                  <c:v>452</c:v>
                </c:pt>
                <c:pt idx="140">
                  <c:v>442</c:v>
                </c:pt>
                <c:pt idx="141">
                  <c:v>432</c:v>
                </c:pt>
                <c:pt idx="142">
                  <c:v>421</c:v>
                </c:pt>
                <c:pt idx="143">
                  <c:v>411</c:v>
                </c:pt>
                <c:pt idx="144">
                  <c:v>402</c:v>
                </c:pt>
                <c:pt idx="145">
                  <c:v>392</c:v>
                </c:pt>
                <c:pt idx="146">
                  <c:v>383</c:v>
                </c:pt>
                <c:pt idx="147">
                  <c:v>374</c:v>
                </c:pt>
                <c:pt idx="148">
                  <c:v>365</c:v>
                </c:pt>
                <c:pt idx="149">
                  <c:v>356</c:v>
                </c:pt>
                <c:pt idx="150">
                  <c:v>347</c:v>
                </c:pt>
                <c:pt idx="151">
                  <c:v>339</c:v>
                </c:pt>
                <c:pt idx="152">
                  <c:v>331</c:v>
                </c:pt>
                <c:pt idx="153">
                  <c:v>323</c:v>
                </c:pt>
                <c:pt idx="154">
                  <c:v>315</c:v>
                </c:pt>
                <c:pt idx="155">
                  <c:v>307</c:v>
                </c:pt>
                <c:pt idx="156">
                  <c:v>299</c:v>
                </c:pt>
                <c:pt idx="157">
                  <c:v>292</c:v>
                </c:pt>
                <c:pt idx="158">
                  <c:v>285</c:v>
                </c:pt>
                <c:pt idx="159">
                  <c:v>278</c:v>
                </c:pt>
                <c:pt idx="160">
                  <c:v>271</c:v>
                </c:pt>
                <c:pt idx="161">
                  <c:v>264</c:v>
                </c:pt>
                <c:pt idx="162">
                  <c:v>257</c:v>
                </c:pt>
                <c:pt idx="163">
                  <c:v>251</c:v>
                </c:pt>
                <c:pt idx="164">
                  <c:v>245</c:v>
                </c:pt>
                <c:pt idx="165">
                  <c:v>239</c:v>
                </c:pt>
                <c:pt idx="166">
                  <c:v>233</c:v>
                </c:pt>
                <c:pt idx="167">
                  <c:v>227</c:v>
                </c:pt>
                <c:pt idx="168">
                  <c:v>221</c:v>
                </c:pt>
                <c:pt idx="169">
                  <c:v>215</c:v>
                </c:pt>
                <c:pt idx="170">
                  <c:v>210</c:v>
                </c:pt>
                <c:pt idx="171">
                  <c:v>205</c:v>
                </c:pt>
                <c:pt idx="172">
                  <c:v>199</c:v>
                </c:pt>
                <c:pt idx="173">
                  <c:v>194</c:v>
                </c:pt>
                <c:pt idx="174">
                  <c:v>189</c:v>
                </c:pt>
                <c:pt idx="175">
                  <c:v>184</c:v>
                </c:pt>
                <c:pt idx="176">
                  <c:v>180</c:v>
                </c:pt>
                <c:pt idx="177">
                  <c:v>175</c:v>
                </c:pt>
                <c:pt idx="178">
                  <c:v>171</c:v>
                </c:pt>
                <c:pt idx="179">
                  <c:v>166</c:v>
                </c:pt>
                <c:pt idx="180">
                  <c:v>162</c:v>
                </c:pt>
                <c:pt idx="181">
                  <c:v>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45</c:v>
                </c:pt>
                <c:pt idx="1">
                  <c:v>386</c:v>
                </c:pt>
                <c:pt idx="2">
                  <c:v>389</c:v>
                </c:pt>
                <c:pt idx="3">
                  <c:v>328</c:v>
                </c:pt>
                <c:pt idx="4">
                  <c:v>448</c:v>
                </c:pt>
                <c:pt idx="5">
                  <c:v>16</c:v>
                </c:pt>
                <c:pt idx="6">
                  <c:v>274</c:v>
                </c:pt>
                <c:pt idx="7">
                  <c:v>385</c:v>
                </c:pt>
                <c:pt idx="8">
                  <c:v>460</c:v>
                </c:pt>
                <c:pt idx="9">
                  <c:v>481</c:v>
                </c:pt>
                <c:pt idx="10">
                  <c:v>359</c:v>
                </c:pt>
                <c:pt idx="11">
                  <c:v>316</c:v>
                </c:pt>
                <c:pt idx="12">
                  <c:v>163</c:v>
                </c:pt>
                <c:pt idx="13">
                  <c:v>313</c:v>
                </c:pt>
                <c:pt idx="14">
                  <c:v>574</c:v>
                </c:pt>
                <c:pt idx="15">
                  <c:v>637</c:v>
                </c:pt>
                <c:pt idx="16">
                  <c:v>589</c:v>
                </c:pt>
                <c:pt idx="17">
                  <c:v>517</c:v>
                </c:pt>
                <c:pt idx="18">
                  <c:v>402</c:v>
                </c:pt>
                <c:pt idx="19">
                  <c:v>192</c:v>
                </c:pt>
                <c:pt idx="20">
                  <c:v>471</c:v>
                </c:pt>
                <c:pt idx="21">
                  <c:v>769</c:v>
                </c:pt>
                <c:pt idx="22">
                  <c:v>772</c:v>
                </c:pt>
                <c:pt idx="23">
                  <c:v>301</c:v>
                </c:pt>
                <c:pt idx="24">
                  <c:v>192</c:v>
                </c:pt>
                <c:pt idx="25">
                  <c:v>192</c:v>
                </c:pt>
                <c:pt idx="26">
                  <c:v>278</c:v>
                </c:pt>
                <c:pt idx="27">
                  <c:v>642</c:v>
                </c:pt>
                <c:pt idx="28">
                  <c:v>1176</c:v>
                </c:pt>
                <c:pt idx="29">
                  <c:v>903</c:v>
                </c:pt>
                <c:pt idx="30">
                  <c:v>994</c:v>
                </c:pt>
                <c:pt idx="31">
                  <c:v>394</c:v>
                </c:pt>
                <c:pt idx="32">
                  <c:v>268</c:v>
                </c:pt>
                <c:pt idx="33">
                  <c:v>413</c:v>
                </c:pt>
                <c:pt idx="34">
                  <c:v>705</c:v>
                </c:pt>
                <c:pt idx="35">
                  <c:v>1146</c:v>
                </c:pt>
                <c:pt idx="36">
                  <c:v>1065</c:v>
                </c:pt>
                <c:pt idx="37">
                  <c:v>963</c:v>
                </c:pt>
                <c:pt idx="38">
                  <c:v>873</c:v>
                </c:pt>
                <c:pt idx="39">
                  <c:v>542</c:v>
                </c:pt>
                <c:pt idx="40">
                  <c:v>218</c:v>
                </c:pt>
                <c:pt idx="41">
                  <c:v>458</c:v>
                </c:pt>
                <c:pt idx="42">
                  <c:v>672</c:v>
                </c:pt>
                <c:pt idx="43">
                  <c:v>652</c:v>
                </c:pt>
                <c:pt idx="44">
                  <c:v>476</c:v>
                </c:pt>
                <c:pt idx="45">
                  <c:v>506</c:v>
                </c:pt>
                <c:pt idx="46">
                  <c:v>312</c:v>
                </c:pt>
                <c:pt idx="47">
                  <c:v>130</c:v>
                </c:pt>
                <c:pt idx="48">
                  <c:v>421</c:v>
                </c:pt>
                <c:pt idx="49">
                  <c:v>473</c:v>
                </c:pt>
                <c:pt idx="50">
                  <c:v>514</c:v>
                </c:pt>
                <c:pt idx="51">
                  <c:v>506</c:v>
                </c:pt>
                <c:pt idx="52">
                  <c:v>449</c:v>
                </c:pt>
                <c:pt idx="53">
                  <c:v>201</c:v>
                </c:pt>
                <c:pt idx="54">
                  <c:v>176</c:v>
                </c:pt>
                <c:pt idx="55">
                  <c:v>438</c:v>
                </c:pt>
                <c:pt idx="56">
                  <c:v>506</c:v>
                </c:pt>
                <c:pt idx="57">
                  <c:v>493</c:v>
                </c:pt>
                <c:pt idx="58">
                  <c:v>434</c:v>
                </c:pt>
                <c:pt idx="59">
                  <c:v>491</c:v>
                </c:pt>
                <c:pt idx="60">
                  <c:v>228</c:v>
                </c:pt>
                <c:pt idx="61">
                  <c:v>162</c:v>
                </c:pt>
                <c:pt idx="62">
                  <c:v>443</c:v>
                </c:pt>
                <c:pt idx="63">
                  <c:v>570</c:v>
                </c:pt>
                <c:pt idx="64">
                  <c:v>612</c:v>
                </c:pt>
                <c:pt idx="65">
                  <c:v>552</c:v>
                </c:pt>
                <c:pt idx="66">
                  <c:v>482</c:v>
                </c:pt>
                <c:pt idx="67">
                  <c:v>376</c:v>
                </c:pt>
                <c:pt idx="68">
                  <c:v>165</c:v>
                </c:pt>
                <c:pt idx="69">
                  <c:v>424</c:v>
                </c:pt>
                <c:pt idx="70">
                  <c:v>708</c:v>
                </c:pt>
                <c:pt idx="71">
                  <c:v>625</c:v>
                </c:pt>
                <c:pt idx="72">
                  <c:v>563</c:v>
                </c:pt>
                <c:pt idx="73">
                  <c:v>547</c:v>
                </c:pt>
                <c:pt idx="74">
                  <c:v>466</c:v>
                </c:pt>
                <c:pt idx="75">
                  <c:v>249</c:v>
                </c:pt>
                <c:pt idx="76">
                  <c:v>633</c:v>
                </c:pt>
                <c:pt idx="77">
                  <c:v>853</c:v>
                </c:pt>
                <c:pt idx="78">
                  <c:v>839</c:v>
                </c:pt>
                <c:pt idx="79">
                  <c:v>888</c:v>
                </c:pt>
                <c:pt idx="80">
                  <c:v>816</c:v>
                </c:pt>
                <c:pt idx="81">
                  <c:v>604</c:v>
                </c:pt>
                <c:pt idx="82">
                  <c:v>422</c:v>
                </c:pt>
                <c:pt idx="83">
                  <c:v>878</c:v>
                </c:pt>
                <c:pt idx="84">
                  <c:v>1140</c:v>
                </c:pt>
                <c:pt idx="85">
                  <c:v>1073</c:v>
                </c:pt>
                <c:pt idx="86">
                  <c:v>1127</c:v>
                </c:pt>
                <c:pt idx="87">
                  <c:v>1161</c:v>
                </c:pt>
                <c:pt idx="88">
                  <c:v>743</c:v>
                </c:pt>
                <c:pt idx="89">
                  <c:v>464</c:v>
                </c:pt>
                <c:pt idx="90">
                  <c:v>821</c:v>
                </c:pt>
                <c:pt idx="91">
                  <c:v>1373</c:v>
                </c:pt>
                <c:pt idx="92">
                  <c:v>1346</c:v>
                </c:pt>
                <c:pt idx="93">
                  <c:v>1299</c:v>
                </c:pt>
                <c:pt idx="94">
                  <c:v>1187</c:v>
                </c:pt>
                <c:pt idx="95">
                  <c:v>689</c:v>
                </c:pt>
                <c:pt idx="96">
                  <c:v>402</c:v>
                </c:pt>
                <c:pt idx="97">
                  <c:v>919</c:v>
                </c:pt>
                <c:pt idx="98">
                  <c:v>1398</c:v>
                </c:pt>
                <c:pt idx="99">
                  <c:v>1518</c:v>
                </c:pt>
                <c:pt idx="100">
                  <c:v>1146</c:v>
                </c:pt>
                <c:pt idx="101">
                  <c:v>1331</c:v>
                </c:pt>
                <c:pt idx="102">
                  <c:v>620</c:v>
                </c:pt>
                <c:pt idx="103">
                  <c:v>362</c:v>
                </c:pt>
                <c:pt idx="104">
                  <c:v>888</c:v>
                </c:pt>
                <c:pt idx="105">
                  <c:v>1236</c:v>
                </c:pt>
                <c:pt idx="106">
                  <c:v>1174</c:v>
                </c:pt>
                <c:pt idx="107">
                  <c:v>1101</c:v>
                </c:pt>
                <c:pt idx="108">
                  <c:v>1013</c:v>
                </c:pt>
                <c:pt idx="109">
                  <c:v>627</c:v>
                </c:pt>
                <c:pt idx="110">
                  <c:v>280</c:v>
                </c:pt>
                <c:pt idx="111">
                  <c:v>728</c:v>
                </c:pt>
                <c:pt idx="112">
                  <c:v>1171</c:v>
                </c:pt>
                <c:pt idx="113">
                  <c:v>918</c:v>
                </c:pt>
                <c:pt idx="114">
                  <c:v>853</c:v>
                </c:pt>
                <c:pt idx="115">
                  <c:v>832</c:v>
                </c:pt>
                <c:pt idx="116">
                  <c:v>389</c:v>
                </c:pt>
                <c:pt idx="117">
                  <c:v>267</c:v>
                </c:pt>
                <c:pt idx="118">
                  <c:v>631</c:v>
                </c:pt>
                <c:pt idx="119">
                  <c:v>914</c:v>
                </c:pt>
                <c:pt idx="120">
                  <c:v>688</c:v>
                </c:pt>
                <c:pt idx="121">
                  <c:v>516</c:v>
                </c:pt>
                <c:pt idx="122">
                  <c:v>388</c:v>
                </c:pt>
                <c:pt idx="123">
                  <c:v>324</c:v>
                </c:pt>
                <c:pt idx="124">
                  <c:v>176</c:v>
                </c:pt>
                <c:pt idx="125">
                  <c:v>145</c:v>
                </c:pt>
                <c:pt idx="126">
                  <c:v>565</c:v>
                </c:pt>
                <c:pt idx="127">
                  <c:v>640</c:v>
                </c:pt>
                <c:pt idx="128">
                  <c:v>519</c:v>
                </c:pt>
                <c:pt idx="129">
                  <c:v>463</c:v>
                </c:pt>
                <c:pt idx="130">
                  <c:v>205</c:v>
                </c:pt>
                <c:pt idx="131">
                  <c:v>129</c:v>
                </c:pt>
                <c:pt idx="132">
                  <c:v>408</c:v>
                </c:pt>
                <c:pt idx="133">
                  <c:v>505</c:v>
                </c:pt>
                <c:pt idx="134">
                  <c:v>357</c:v>
                </c:pt>
                <c:pt idx="135">
                  <c:v>325</c:v>
                </c:pt>
                <c:pt idx="136">
                  <c:v>342</c:v>
                </c:pt>
                <c:pt idx="137">
                  <c:v>142</c:v>
                </c:pt>
                <c:pt idx="138">
                  <c:v>85</c:v>
                </c:pt>
                <c:pt idx="139">
                  <c:v>310</c:v>
                </c:pt>
                <c:pt idx="140">
                  <c:v>364</c:v>
                </c:pt>
                <c:pt idx="141">
                  <c:v>286</c:v>
                </c:pt>
                <c:pt idx="142">
                  <c:v>222</c:v>
                </c:pt>
                <c:pt idx="143">
                  <c:v>251</c:v>
                </c:pt>
                <c:pt idx="144">
                  <c:v>101</c:v>
                </c:pt>
                <c:pt idx="145">
                  <c:v>118</c:v>
                </c:pt>
                <c:pt idx="146">
                  <c:v>205</c:v>
                </c:pt>
                <c:pt idx="147">
                  <c:v>320</c:v>
                </c:pt>
                <c:pt idx="148">
                  <c:v>244</c:v>
                </c:pt>
                <c:pt idx="149">
                  <c:v>216</c:v>
                </c:pt>
                <c:pt idx="150">
                  <c:v>252</c:v>
                </c:pt>
                <c:pt idx="151">
                  <c:v>122</c:v>
                </c:pt>
                <c:pt idx="152">
                  <c:v>46</c:v>
                </c:pt>
                <c:pt idx="153">
                  <c:v>230</c:v>
                </c:pt>
                <c:pt idx="154">
                  <c:v>249</c:v>
                </c:pt>
                <c:pt idx="155">
                  <c:v>163</c:v>
                </c:pt>
                <c:pt idx="156">
                  <c:v>154</c:v>
                </c:pt>
                <c:pt idx="157">
                  <c:v>123</c:v>
                </c:pt>
                <c:pt idx="158">
                  <c:v>76</c:v>
                </c:pt>
                <c:pt idx="159">
                  <c:v>20</c:v>
                </c:pt>
                <c:pt idx="160">
                  <c:v>149</c:v>
                </c:pt>
                <c:pt idx="161">
                  <c:v>103</c:v>
                </c:pt>
                <c:pt idx="162">
                  <c:v>118</c:v>
                </c:pt>
                <c:pt idx="163">
                  <c:v>86</c:v>
                </c:pt>
                <c:pt idx="164">
                  <c:v>107</c:v>
                </c:pt>
                <c:pt idx="165">
                  <c:v>44</c:v>
                </c:pt>
                <c:pt idx="166">
                  <c:v>21</c:v>
                </c:pt>
                <c:pt idx="167">
                  <c:v>102</c:v>
                </c:pt>
                <c:pt idx="168">
                  <c:v>78</c:v>
                </c:pt>
                <c:pt idx="169">
                  <c:v>56</c:v>
                </c:pt>
                <c:pt idx="170">
                  <c:v>45</c:v>
                </c:pt>
                <c:pt idx="171">
                  <c:v>43</c:v>
                </c:pt>
                <c:pt idx="172">
                  <c:v>14</c:v>
                </c:pt>
                <c:pt idx="173">
                  <c:v>20</c:v>
                </c:pt>
                <c:pt idx="174">
                  <c:v>66</c:v>
                </c:pt>
                <c:pt idx="175">
                  <c:v>52</c:v>
                </c:pt>
                <c:pt idx="176">
                  <c:v>40</c:v>
                </c:pt>
                <c:pt idx="177">
                  <c:v>36</c:v>
                </c:pt>
                <c:pt idx="178">
                  <c:v>43</c:v>
                </c:pt>
                <c:pt idx="179">
                  <c:v>16</c:v>
                </c:pt>
                <c:pt idx="18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B7A-4240-A415-2E2843081A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09</c:v>
                </c:pt>
                <c:pt idx="169">
                  <c:v>105</c:v>
                </c:pt>
                <c:pt idx="170">
                  <c:v>100</c:v>
                </c:pt>
                <c:pt idx="171">
                  <c:v>96</c:v>
                </c:pt>
                <c:pt idx="172">
                  <c:v>91</c:v>
                </c:pt>
                <c:pt idx="173">
                  <c:v>87</c:v>
                </c:pt>
                <c:pt idx="174">
                  <c:v>83</c:v>
                </c:pt>
                <c:pt idx="175">
                  <c:v>79</c:v>
                </c:pt>
                <c:pt idx="176">
                  <c:v>75</c:v>
                </c:pt>
                <c:pt idx="177">
                  <c:v>71</c:v>
                </c:pt>
                <c:pt idx="178">
                  <c:v>67</c:v>
                </c:pt>
                <c:pt idx="179">
                  <c:v>63</c:v>
                </c:pt>
                <c:pt idx="180">
                  <c:v>60</c:v>
                </c:pt>
                <c:pt idx="181">
                  <c:v>56</c:v>
                </c:pt>
                <c:pt idx="182">
                  <c:v>53</c:v>
                </c:pt>
                <c:pt idx="183">
                  <c:v>50</c:v>
                </c:pt>
                <c:pt idx="184">
                  <c:v>47</c:v>
                </c:pt>
                <c:pt idx="185">
                  <c:v>45</c:v>
                </c:pt>
                <c:pt idx="186">
                  <c:v>42</c:v>
                </c:pt>
                <c:pt idx="187">
                  <c:v>40</c:v>
                </c:pt>
                <c:pt idx="188">
                  <c:v>37</c:v>
                </c:pt>
                <c:pt idx="189">
                  <c:v>35</c:v>
                </c:pt>
                <c:pt idx="190">
                  <c:v>33</c:v>
                </c:pt>
                <c:pt idx="191">
                  <c:v>31</c:v>
                </c:pt>
                <c:pt idx="192">
                  <c:v>29</c:v>
                </c:pt>
                <c:pt idx="193">
                  <c:v>28</c:v>
                </c:pt>
                <c:pt idx="194">
                  <c:v>26</c:v>
                </c:pt>
                <c:pt idx="195">
                  <c:v>24</c:v>
                </c:pt>
                <c:pt idx="196">
                  <c:v>23</c:v>
                </c:pt>
                <c:pt idx="197">
                  <c:v>22</c:v>
                </c:pt>
                <c:pt idx="198">
                  <c:v>20</c:v>
                </c:pt>
                <c:pt idx="199">
                  <c:v>19</c:v>
                </c:pt>
                <c:pt idx="200">
                  <c:v>18</c:v>
                </c:pt>
                <c:pt idx="201">
                  <c:v>17</c:v>
                </c:pt>
                <c:pt idx="202">
                  <c:v>16</c:v>
                </c:pt>
                <c:pt idx="203">
                  <c:v>15</c:v>
                </c:pt>
                <c:pt idx="204">
                  <c:v>14</c:v>
                </c:pt>
                <c:pt idx="205">
                  <c:v>13</c:v>
                </c:pt>
                <c:pt idx="206">
                  <c:v>12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8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B7A-4240-A415-2E2843081A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12</c:v>
                </c:pt>
                <c:pt idx="169">
                  <c:v>111</c:v>
                </c:pt>
                <c:pt idx="170">
                  <c:v>110</c:v>
                </c:pt>
                <c:pt idx="171">
                  <c:v>110</c:v>
                </c:pt>
                <c:pt idx="172">
                  <c:v>110</c:v>
                </c:pt>
                <c:pt idx="173">
                  <c:v>109</c:v>
                </c:pt>
                <c:pt idx="174">
                  <c:v>109</c:v>
                </c:pt>
                <c:pt idx="175">
                  <c:v>111</c:v>
                </c:pt>
                <c:pt idx="176">
                  <c:v>113</c:v>
                </c:pt>
                <c:pt idx="177">
                  <c:v>116</c:v>
                </c:pt>
                <c:pt idx="178">
                  <c:v>119</c:v>
                </c:pt>
                <c:pt idx="179">
                  <c:v>122</c:v>
                </c:pt>
                <c:pt idx="180">
                  <c:v>125</c:v>
                </c:pt>
                <c:pt idx="181">
                  <c:v>128</c:v>
                </c:pt>
                <c:pt idx="182">
                  <c:v>131</c:v>
                </c:pt>
                <c:pt idx="183">
                  <c:v>134</c:v>
                </c:pt>
                <c:pt idx="184">
                  <c:v>137</c:v>
                </c:pt>
                <c:pt idx="185">
                  <c:v>140</c:v>
                </c:pt>
                <c:pt idx="186">
                  <c:v>143</c:v>
                </c:pt>
                <c:pt idx="187">
                  <c:v>146</c:v>
                </c:pt>
                <c:pt idx="188">
                  <c:v>150</c:v>
                </c:pt>
                <c:pt idx="189">
                  <c:v>153</c:v>
                </c:pt>
                <c:pt idx="190">
                  <c:v>157</c:v>
                </c:pt>
                <c:pt idx="191">
                  <c:v>160</c:v>
                </c:pt>
                <c:pt idx="192">
                  <c:v>164</c:v>
                </c:pt>
                <c:pt idx="193">
                  <c:v>167</c:v>
                </c:pt>
                <c:pt idx="194">
                  <c:v>171</c:v>
                </c:pt>
                <c:pt idx="195">
                  <c:v>174</c:v>
                </c:pt>
                <c:pt idx="196">
                  <c:v>177</c:v>
                </c:pt>
                <c:pt idx="197">
                  <c:v>180</c:v>
                </c:pt>
                <c:pt idx="198">
                  <c:v>183</c:v>
                </c:pt>
                <c:pt idx="199">
                  <c:v>185</c:v>
                </c:pt>
                <c:pt idx="200">
                  <c:v>188</c:v>
                </c:pt>
                <c:pt idx="201">
                  <c:v>190</c:v>
                </c:pt>
                <c:pt idx="202">
                  <c:v>191</c:v>
                </c:pt>
                <c:pt idx="203">
                  <c:v>193</c:v>
                </c:pt>
                <c:pt idx="204">
                  <c:v>194</c:v>
                </c:pt>
                <c:pt idx="205">
                  <c:v>195</c:v>
                </c:pt>
                <c:pt idx="206">
                  <c:v>196</c:v>
                </c:pt>
                <c:pt idx="207">
                  <c:v>196</c:v>
                </c:pt>
                <c:pt idx="208">
                  <c:v>197</c:v>
                </c:pt>
                <c:pt idx="209">
                  <c:v>196</c:v>
                </c:pt>
                <c:pt idx="210">
                  <c:v>196</c:v>
                </c:pt>
                <c:pt idx="211">
                  <c:v>195</c:v>
                </c:pt>
                <c:pt idx="212">
                  <c:v>194</c:v>
                </c:pt>
                <c:pt idx="213">
                  <c:v>193</c:v>
                </c:pt>
                <c:pt idx="214">
                  <c:v>191</c:v>
                </c:pt>
                <c:pt idx="215">
                  <c:v>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B7A-4240-A415-2E2843081A4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B7A-4240-A415-2E2843081A4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34</c:v>
                </c:pt>
                <c:pt idx="1">
                  <c:v>162</c:v>
                </c:pt>
                <c:pt idx="2">
                  <c:v>280</c:v>
                </c:pt>
                <c:pt idx="3">
                  <c:v>260</c:v>
                </c:pt>
                <c:pt idx="4">
                  <c:v>143</c:v>
                </c:pt>
                <c:pt idx="5">
                  <c:v>42</c:v>
                </c:pt>
                <c:pt idx="6">
                  <c:v>245</c:v>
                </c:pt>
                <c:pt idx="7">
                  <c:v>302</c:v>
                </c:pt>
                <c:pt idx="8">
                  <c:v>301</c:v>
                </c:pt>
                <c:pt idx="9">
                  <c:v>294</c:v>
                </c:pt>
                <c:pt idx="10">
                  <c:v>284</c:v>
                </c:pt>
                <c:pt idx="11">
                  <c:v>179</c:v>
                </c:pt>
                <c:pt idx="12">
                  <c:v>86</c:v>
                </c:pt>
                <c:pt idx="13">
                  <c:v>300</c:v>
                </c:pt>
                <c:pt idx="14">
                  <c:v>437</c:v>
                </c:pt>
                <c:pt idx="15">
                  <c:v>475</c:v>
                </c:pt>
                <c:pt idx="16">
                  <c:v>377</c:v>
                </c:pt>
                <c:pt idx="17">
                  <c:v>378</c:v>
                </c:pt>
                <c:pt idx="18">
                  <c:v>233</c:v>
                </c:pt>
                <c:pt idx="19">
                  <c:v>139</c:v>
                </c:pt>
                <c:pt idx="20">
                  <c:v>426</c:v>
                </c:pt>
                <c:pt idx="21">
                  <c:v>538</c:v>
                </c:pt>
                <c:pt idx="22">
                  <c:v>667</c:v>
                </c:pt>
                <c:pt idx="23">
                  <c:v>46</c:v>
                </c:pt>
                <c:pt idx="24">
                  <c:v>165</c:v>
                </c:pt>
                <c:pt idx="25">
                  <c:v>175</c:v>
                </c:pt>
                <c:pt idx="26">
                  <c:v>123</c:v>
                </c:pt>
                <c:pt idx="27">
                  <c:v>535</c:v>
                </c:pt>
                <c:pt idx="28">
                  <c:v>649</c:v>
                </c:pt>
                <c:pt idx="29">
                  <c:v>661</c:v>
                </c:pt>
                <c:pt idx="30">
                  <c:v>461</c:v>
                </c:pt>
                <c:pt idx="31">
                  <c:v>24</c:v>
                </c:pt>
                <c:pt idx="32">
                  <c:v>456</c:v>
                </c:pt>
                <c:pt idx="33">
                  <c:v>376</c:v>
                </c:pt>
                <c:pt idx="34">
                  <c:v>635</c:v>
                </c:pt>
                <c:pt idx="35">
                  <c:v>630</c:v>
                </c:pt>
                <c:pt idx="36">
                  <c:v>754</c:v>
                </c:pt>
                <c:pt idx="37">
                  <c:v>721</c:v>
                </c:pt>
                <c:pt idx="38">
                  <c:v>658</c:v>
                </c:pt>
                <c:pt idx="39">
                  <c:v>456</c:v>
                </c:pt>
                <c:pt idx="40">
                  <c:v>294</c:v>
                </c:pt>
                <c:pt idx="41">
                  <c:v>597</c:v>
                </c:pt>
                <c:pt idx="42">
                  <c:v>586</c:v>
                </c:pt>
                <c:pt idx="43">
                  <c:v>641</c:v>
                </c:pt>
                <c:pt idx="44">
                  <c:v>498</c:v>
                </c:pt>
                <c:pt idx="45">
                  <c:v>467</c:v>
                </c:pt>
                <c:pt idx="46">
                  <c:v>211</c:v>
                </c:pt>
                <c:pt idx="47">
                  <c:v>161</c:v>
                </c:pt>
                <c:pt idx="48">
                  <c:v>539</c:v>
                </c:pt>
                <c:pt idx="49">
                  <c:v>478</c:v>
                </c:pt>
                <c:pt idx="50">
                  <c:v>411</c:v>
                </c:pt>
                <c:pt idx="51">
                  <c:v>413</c:v>
                </c:pt>
                <c:pt idx="52">
                  <c:v>333</c:v>
                </c:pt>
                <c:pt idx="53">
                  <c:v>201</c:v>
                </c:pt>
                <c:pt idx="54">
                  <c:v>121</c:v>
                </c:pt>
                <c:pt idx="55">
                  <c:v>443</c:v>
                </c:pt>
                <c:pt idx="56">
                  <c:v>497</c:v>
                </c:pt>
                <c:pt idx="57">
                  <c:v>420</c:v>
                </c:pt>
                <c:pt idx="58">
                  <c:v>413</c:v>
                </c:pt>
                <c:pt idx="59">
                  <c:v>393</c:v>
                </c:pt>
                <c:pt idx="60">
                  <c:v>167</c:v>
                </c:pt>
                <c:pt idx="61">
                  <c:v>127</c:v>
                </c:pt>
                <c:pt idx="62">
                  <c:v>451</c:v>
                </c:pt>
                <c:pt idx="63">
                  <c:v>446</c:v>
                </c:pt>
                <c:pt idx="64">
                  <c:v>451</c:v>
                </c:pt>
                <c:pt idx="65">
                  <c:v>448</c:v>
                </c:pt>
                <c:pt idx="66">
                  <c:v>440</c:v>
                </c:pt>
                <c:pt idx="67">
                  <c:v>188</c:v>
                </c:pt>
                <c:pt idx="68">
                  <c:v>129</c:v>
                </c:pt>
                <c:pt idx="69">
                  <c:v>514</c:v>
                </c:pt>
                <c:pt idx="70">
                  <c:v>488</c:v>
                </c:pt>
                <c:pt idx="71">
                  <c:v>488</c:v>
                </c:pt>
                <c:pt idx="72">
                  <c:v>487</c:v>
                </c:pt>
                <c:pt idx="73">
                  <c:v>508</c:v>
                </c:pt>
                <c:pt idx="74">
                  <c:v>239</c:v>
                </c:pt>
                <c:pt idx="75">
                  <c:v>150</c:v>
                </c:pt>
                <c:pt idx="76">
                  <c:v>523</c:v>
                </c:pt>
                <c:pt idx="77">
                  <c:v>622</c:v>
                </c:pt>
                <c:pt idx="78">
                  <c:v>648</c:v>
                </c:pt>
                <c:pt idx="79">
                  <c:v>568</c:v>
                </c:pt>
                <c:pt idx="80">
                  <c:v>590</c:v>
                </c:pt>
                <c:pt idx="81">
                  <c:v>324</c:v>
                </c:pt>
                <c:pt idx="82">
                  <c:v>175</c:v>
                </c:pt>
                <c:pt idx="83">
                  <c:v>724</c:v>
                </c:pt>
                <c:pt idx="84">
                  <c:v>781</c:v>
                </c:pt>
                <c:pt idx="85">
                  <c:v>825</c:v>
                </c:pt>
                <c:pt idx="86">
                  <c:v>853</c:v>
                </c:pt>
                <c:pt idx="87">
                  <c:v>825</c:v>
                </c:pt>
                <c:pt idx="88">
                  <c:v>402</c:v>
                </c:pt>
                <c:pt idx="89">
                  <c:v>255</c:v>
                </c:pt>
                <c:pt idx="90">
                  <c:v>761</c:v>
                </c:pt>
                <c:pt idx="91">
                  <c:v>862</c:v>
                </c:pt>
                <c:pt idx="92">
                  <c:v>868</c:v>
                </c:pt>
                <c:pt idx="93">
                  <c:v>828</c:v>
                </c:pt>
                <c:pt idx="94">
                  <c:v>746</c:v>
                </c:pt>
                <c:pt idx="95">
                  <c:v>444</c:v>
                </c:pt>
                <c:pt idx="96">
                  <c:v>246</c:v>
                </c:pt>
                <c:pt idx="97">
                  <c:v>688</c:v>
                </c:pt>
                <c:pt idx="98">
                  <c:v>767</c:v>
                </c:pt>
                <c:pt idx="99">
                  <c:v>776</c:v>
                </c:pt>
                <c:pt idx="100">
                  <c:v>722</c:v>
                </c:pt>
                <c:pt idx="101">
                  <c:v>981</c:v>
                </c:pt>
                <c:pt idx="102">
                  <c:v>391</c:v>
                </c:pt>
                <c:pt idx="103">
                  <c:v>199</c:v>
                </c:pt>
                <c:pt idx="104">
                  <c:v>708</c:v>
                </c:pt>
                <c:pt idx="105">
                  <c:v>751</c:v>
                </c:pt>
                <c:pt idx="106">
                  <c:v>647</c:v>
                </c:pt>
                <c:pt idx="107">
                  <c:v>455</c:v>
                </c:pt>
                <c:pt idx="108">
                  <c:v>253</c:v>
                </c:pt>
                <c:pt idx="109">
                  <c:v>475</c:v>
                </c:pt>
                <c:pt idx="110">
                  <c:v>114</c:v>
                </c:pt>
                <c:pt idx="111">
                  <c:v>551</c:v>
                </c:pt>
                <c:pt idx="112">
                  <c:v>541</c:v>
                </c:pt>
                <c:pt idx="113">
                  <c:v>474</c:v>
                </c:pt>
                <c:pt idx="114">
                  <c:v>370</c:v>
                </c:pt>
                <c:pt idx="115">
                  <c:v>361</c:v>
                </c:pt>
                <c:pt idx="116">
                  <c:v>167</c:v>
                </c:pt>
                <c:pt idx="117">
                  <c:v>83</c:v>
                </c:pt>
                <c:pt idx="118">
                  <c:v>378</c:v>
                </c:pt>
                <c:pt idx="119">
                  <c:v>380</c:v>
                </c:pt>
                <c:pt idx="120">
                  <c:v>287</c:v>
                </c:pt>
                <c:pt idx="121">
                  <c:v>321</c:v>
                </c:pt>
                <c:pt idx="122">
                  <c:v>126</c:v>
                </c:pt>
                <c:pt idx="123">
                  <c:v>94</c:v>
                </c:pt>
                <c:pt idx="124">
                  <c:v>118</c:v>
                </c:pt>
                <c:pt idx="125">
                  <c:v>32</c:v>
                </c:pt>
                <c:pt idx="126">
                  <c:v>271</c:v>
                </c:pt>
                <c:pt idx="127">
                  <c:v>273</c:v>
                </c:pt>
                <c:pt idx="128">
                  <c:v>274</c:v>
                </c:pt>
                <c:pt idx="129">
                  <c:v>198</c:v>
                </c:pt>
                <c:pt idx="130">
                  <c:v>50</c:v>
                </c:pt>
                <c:pt idx="131">
                  <c:v>48</c:v>
                </c:pt>
                <c:pt idx="132">
                  <c:v>214</c:v>
                </c:pt>
                <c:pt idx="133">
                  <c:v>170</c:v>
                </c:pt>
                <c:pt idx="134">
                  <c:v>108</c:v>
                </c:pt>
                <c:pt idx="135">
                  <c:v>143</c:v>
                </c:pt>
                <c:pt idx="136">
                  <c:v>115</c:v>
                </c:pt>
                <c:pt idx="137">
                  <c:v>25</c:v>
                </c:pt>
                <c:pt idx="138">
                  <c:v>35</c:v>
                </c:pt>
                <c:pt idx="139">
                  <c:v>149</c:v>
                </c:pt>
                <c:pt idx="140">
                  <c:v>133</c:v>
                </c:pt>
                <c:pt idx="141">
                  <c:v>106</c:v>
                </c:pt>
                <c:pt idx="142">
                  <c:v>89</c:v>
                </c:pt>
                <c:pt idx="143">
                  <c:v>98</c:v>
                </c:pt>
                <c:pt idx="144">
                  <c:v>32</c:v>
                </c:pt>
                <c:pt idx="145">
                  <c:v>28</c:v>
                </c:pt>
                <c:pt idx="146">
                  <c:v>117</c:v>
                </c:pt>
                <c:pt idx="147">
                  <c:v>93</c:v>
                </c:pt>
                <c:pt idx="148">
                  <c:v>69</c:v>
                </c:pt>
                <c:pt idx="149">
                  <c:v>77</c:v>
                </c:pt>
                <c:pt idx="150">
                  <c:v>79</c:v>
                </c:pt>
                <c:pt idx="151">
                  <c:v>4</c:v>
                </c:pt>
                <c:pt idx="152">
                  <c:v>30</c:v>
                </c:pt>
                <c:pt idx="153">
                  <c:v>111</c:v>
                </c:pt>
                <c:pt idx="154">
                  <c:v>78</c:v>
                </c:pt>
                <c:pt idx="155">
                  <c:v>56</c:v>
                </c:pt>
                <c:pt idx="156">
                  <c:v>65</c:v>
                </c:pt>
                <c:pt idx="157">
                  <c:v>55</c:v>
                </c:pt>
                <c:pt idx="158">
                  <c:v>11</c:v>
                </c:pt>
                <c:pt idx="159">
                  <c:v>15</c:v>
                </c:pt>
                <c:pt idx="160">
                  <c:v>69</c:v>
                </c:pt>
                <c:pt idx="161">
                  <c:v>72</c:v>
                </c:pt>
                <c:pt idx="162">
                  <c:v>43</c:v>
                </c:pt>
                <c:pt idx="163">
                  <c:v>34</c:v>
                </c:pt>
                <c:pt idx="164">
                  <c:v>50</c:v>
                </c:pt>
                <c:pt idx="165">
                  <c:v>12</c:v>
                </c:pt>
                <c:pt idx="166">
                  <c:v>12</c:v>
                </c:pt>
                <c:pt idx="167">
                  <c:v>61</c:v>
                </c:pt>
                <c:pt idx="168">
                  <c:v>42</c:v>
                </c:pt>
                <c:pt idx="169">
                  <c:v>38</c:v>
                </c:pt>
                <c:pt idx="170">
                  <c:v>47</c:v>
                </c:pt>
                <c:pt idx="171">
                  <c:v>43</c:v>
                </c:pt>
                <c:pt idx="172">
                  <c:v>16</c:v>
                </c:pt>
                <c:pt idx="173">
                  <c:v>12</c:v>
                </c:pt>
                <c:pt idx="174">
                  <c:v>36</c:v>
                </c:pt>
                <c:pt idx="175">
                  <c:v>34</c:v>
                </c:pt>
                <c:pt idx="176">
                  <c:v>22</c:v>
                </c:pt>
                <c:pt idx="177">
                  <c:v>22</c:v>
                </c:pt>
                <c:pt idx="178">
                  <c:v>22</c:v>
                </c:pt>
                <c:pt idx="179">
                  <c:v>11</c:v>
                </c:pt>
                <c:pt idx="18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6-4AAE-B339-C187F44711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6-4AAE-B339-C187F44711E6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763</c:v>
                </c:pt>
                <c:pt idx="89">
                  <c:v>777</c:v>
                </c:pt>
                <c:pt idx="90">
                  <c:v>788</c:v>
                </c:pt>
                <c:pt idx="91">
                  <c:v>798</c:v>
                </c:pt>
                <c:pt idx="92">
                  <c:v>807</c:v>
                </c:pt>
                <c:pt idx="93">
                  <c:v>815</c:v>
                </c:pt>
                <c:pt idx="94">
                  <c:v>823</c:v>
                </c:pt>
                <c:pt idx="95">
                  <c:v>830</c:v>
                </c:pt>
                <c:pt idx="96">
                  <c:v>837</c:v>
                </c:pt>
                <c:pt idx="97">
                  <c:v>843</c:v>
                </c:pt>
                <c:pt idx="98">
                  <c:v>849</c:v>
                </c:pt>
                <c:pt idx="99">
                  <c:v>855</c:v>
                </c:pt>
                <c:pt idx="100">
                  <c:v>860</c:v>
                </c:pt>
                <c:pt idx="101">
                  <c:v>864</c:v>
                </c:pt>
                <c:pt idx="102">
                  <c:v>869</c:v>
                </c:pt>
                <c:pt idx="103">
                  <c:v>873</c:v>
                </c:pt>
                <c:pt idx="104">
                  <c:v>876</c:v>
                </c:pt>
                <c:pt idx="105">
                  <c:v>879</c:v>
                </c:pt>
                <c:pt idx="106">
                  <c:v>882</c:v>
                </c:pt>
                <c:pt idx="107">
                  <c:v>884</c:v>
                </c:pt>
                <c:pt idx="108">
                  <c:v>886</c:v>
                </c:pt>
                <c:pt idx="109">
                  <c:v>888</c:v>
                </c:pt>
                <c:pt idx="110">
                  <c:v>889</c:v>
                </c:pt>
                <c:pt idx="111">
                  <c:v>890</c:v>
                </c:pt>
                <c:pt idx="112">
                  <c:v>890</c:v>
                </c:pt>
                <c:pt idx="113">
                  <c:v>891</c:v>
                </c:pt>
                <c:pt idx="114">
                  <c:v>890</c:v>
                </c:pt>
                <c:pt idx="115">
                  <c:v>890</c:v>
                </c:pt>
                <c:pt idx="116">
                  <c:v>889</c:v>
                </c:pt>
                <c:pt idx="117">
                  <c:v>888</c:v>
                </c:pt>
                <c:pt idx="118">
                  <c:v>886</c:v>
                </c:pt>
                <c:pt idx="119">
                  <c:v>884</c:v>
                </c:pt>
                <c:pt idx="120">
                  <c:v>882</c:v>
                </c:pt>
                <c:pt idx="121">
                  <c:v>880</c:v>
                </c:pt>
                <c:pt idx="122">
                  <c:v>877</c:v>
                </c:pt>
                <c:pt idx="123">
                  <c:v>874</c:v>
                </c:pt>
                <c:pt idx="124">
                  <c:v>870</c:v>
                </c:pt>
                <c:pt idx="125">
                  <c:v>867</c:v>
                </c:pt>
                <c:pt idx="126">
                  <c:v>863</c:v>
                </c:pt>
                <c:pt idx="127">
                  <c:v>858</c:v>
                </c:pt>
                <c:pt idx="128">
                  <c:v>854</c:v>
                </c:pt>
                <c:pt idx="129">
                  <c:v>849</c:v>
                </c:pt>
                <c:pt idx="130">
                  <c:v>843</c:v>
                </c:pt>
                <c:pt idx="131">
                  <c:v>838</c:v>
                </c:pt>
                <c:pt idx="132">
                  <c:v>832</c:v>
                </c:pt>
                <c:pt idx="133">
                  <c:v>826</c:v>
                </c:pt>
                <c:pt idx="134">
                  <c:v>820</c:v>
                </c:pt>
                <c:pt idx="135">
                  <c:v>814</c:v>
                </c:pt>
                <c:pt idx="136">
                  <c:v>807</c:v>
                </c:pt>
                <c:pt idx="137">
                  <c:v>800</c:v>
                </c:pt>
                <c:pt idx="138">
                  <c:v>793</c:v>
                </c:pt>
                <c:pt idx="139">
                  <c:v>786</c:v>
                </c:pt>
                <c:pt idx="140">
                  <c:v>779</c:v>
                </c:pt>
                <c:pt idx="141">
                  <c:v>771</c:v>
                </c:pt>
                <c:pt idx="142">
                  <c:v>763</c:v>
                </c:pt>
                <c:pt idx="143">
                  <c:v>755</c:v>
                </c:pt>
                <c:pt idx="144">
                  <c:v>747</c:v>
                </c:pt>
                <c:pt idx="145">
                  <c:v>739</c:v>
                </c:pt>
                <c:pt idx="146">
                  <c:v>730</c:v>
                </c:pt>
                <c:pt idx="147">
                  <c:v>722</c:v>
                </c:pt>
                <c:pt idx="148">
                  <c:v>713</c:v>
                </c:pt>
                <c:pt idx="149">
                  <c:v>705</c:v>
                </c:pt>
                <c:pt idx="150">
                  <c:v>696</c:v>
                </c:pt>
                <c:pt idx="151">
                  <c:v>687</c:v>
                </c:pt>
                <c:pt idx="152">
                  <c:v>678</c:v>
                </c:pt>
                <c:pt idx="153">
                  <c:v>669</c:v>
                </c:pt>
                <c:pt idx="154">
                  <c:v>660</c:v>
                </c:pt>
                <c:pt idx="155">
                  <c:v>651</c:v>
                </c:pt>
                <c:pt idx="156">
                  <c:v>641</c:v>
                </c:pt>
                <c:pt idx="157">
                  <c:v>632</c:v>
                </c:pt>
                <c:pt idx="158">
                  <c:v>623</c:v>
                </c:pt>
                <c:pt idx="159">
                  <c:v>614</c:v>
                </c:pt>
                <c:pt idx="160">
                  <c:v>604</c:v>
                </c:pt>
                <c:pt idx="161">
                  <c:v>595</c:v>
                </c:pt>
                <c:pt idx="162">
                  <c:v>586</c:v>
                </c:pt>
                <c:pt idx="163">
                  <c:v>576</c:v>
                </c:pt>
                <c:pt idx="164">
                  <c:v>567</c:v>
                </c:pt>
                <c:pt idx="165">
                  <c:v>558</c:v>
                </c:pt>
                <c:pt idx="166">
                  <c:v>549</c:v>
                </c:pt>
                <c:pt idx="167">
                  <c:v>539</c:v>
                </c:pt>
                <c:pt idx="168">
                  <c:v>530</c:v>
                </c:pt>
                <c:pt idx="169">
                  <c:v>521</c:v>
                </c:pt>
                <c:pt idx="170">
                  <c:v>512</c:v>
                </c:pt>
                <c:pt idx="171">
                  <c:v>503</c:v>
                </c:pt>
                <c:pt idx="172">
                  <c:v>494</c:v>
                </c:pt>
                <c:pt idx="173">
                  <c:v>485</c:v>
                </c:pt>
                <c:pt idx="174">
                  <c:v>476</c:v>
                </c:pt>
                <c:pt idx="175">
                  <c:v>467</c:v>
                </c:pt>
                <c:pt idx="176">
                  <c:v>459</c:v>
                </c:pt>
                <c:pt idx="177">
                  <c:v>450</c:v>
                </c:pt>
                <c:pt idx="178">
                  <c:v>442</c:v>
                </c:pt>
                <c:pt idx="179">
                  <c:v>433</c:v>
                </c:pt>
                <c:pt idx="180">
                  <c:v>425</c:v>
                </c:pt>
                <c:pt idx="181">
                  <c:v>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46-4AAE-B339-C187F44711E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755</c:v>
                </c:pt>
                <c:pt idx="89">
                  <c:v>757</c:v>
                </c:pt>
                <c:pt idx="90">
                  <c:v>755</c:v>
                </c:pt>
                <c:pt idx="91">
                  <c:v>749</c:v>
                </c:pt>
                <c:pt idx="92">
                  <c:v>743</c:v>
                </c:pt>
                <c:pt idx="93">
                  <c:v>735</c:v>
                </c:pt>
                <c:pt idx="94">
                  <c:v>727</c:v>
                </c:pt>
                <c:pt idx="95">
                  <c:v>718</c:v>
                </c:pt>
                <c:pt idx="96">
                  <c:v>709</c:v>
                </c:pt>
                <c:pt idx="97">
                  <c:v>700</c:v>
                </c:pt>
                <c:pt idx="98">
                  <c:v>690</c:v>
                </c:pt>
                <c:pt idx="99">
                  <c:v>680</c:v>
                </c:pt>
                <c:pt idx="100">
                  <c:v>670</c:v>
                </c:pt>
                <c:pt idx="101">
                  <c:v>659</c:v>
                </c:pt>
                <c:pt idx="102">
                  <c:v>649</c:v>
                </c:pt>
                <c:pt idx="103">
                  <c:v>638</c:v>
                </c:pt>
                <c:pt idx="104">
                  <c:v>627</c:v>
                </c:pt>
                <c:pt idx="105">
                  <c:v>617</c:v>
                </c:pt>
                <c:pt idx="106">
                  <c:v>606</c:v>
                </c:pt>
                <c:pt idx="107">
                  <c:v>595</c:v>
                </c:pt>
                <c:pt idx="108">
                  <c:v>585</c:v>
                </c:pt>
                <c:pt idx="109">
                  <c:v>574</c:v>
                </c:pt>
                <c:pt idx="110">
                  <c:v>563</c:v>
                </c:pt>
                <c:pt idx="111">
                  <c:v>553</c:v>
                </c:pt>
                <c:pt idx="112">
                  <c:v>542</c:v>
                </c:pt>
                <c:pt idx="113">
                  <c:v>532</c:v>
                </c:pt>
                <c:pt idx="114">
                  <c:v>521</c:v>
                </c:pt>
                <c:pt idx="115">
                  <c:v>511</c:v>
                </c:pt>
                <c:pt idx="116">
                  <c:v>501</c:v>
                </c:pt>
                <c:pt idx="117">
                  <c:v>491</c:v>
                </c:pt>
                <c:pt idx="118">
                  <c:v>481</c:v>
                </c:pt>
                <c:pt idx="119">
                  <c:v>471</c:v>
                </c:pt>
                <c:pt idx="120">
                  <c:v>461</c:v>
                </c:pt>
                <c:pt idx="121">
                  <c:v>451</c:v>
                </c:pt>
                <c:pt idx="122">
                  <c:v>442</c:v>
                </c:pt>
                <c:pt idx="123">
                  <c:v>433</c:v>
                </c:pt>
                <c:pt idx="124">
                  <c:v>423</c:v>
                </c:pt>
                <c:pt idx="125">
                  <c:v>414</c:v>
                </c:pt>
                <c:pt idx="126">
                  <c:v>405</c:v>
                </c:pt>
                <c:pt idx="127">
                  <c:v>396</c:v>
                </c:pt>
                <c:pt idx="128">
                  <c:v>388</c:v>
                </c:pt>
                <c:pt idx="129">
                  <c:v>379</c:v>
                </c:pt>
                <c:pt idx="130">
                  <c:v>371</c:v>
                </c:pt>
                <c:pt idx="131">
                  <c:v>363</c:v>
                </c:pt>
                <c:pt idx="132">
                  <c:v>354</c:v>
                </c:pt>
                <c:pt idx="133">
                  <c:v>346</c:v>
                </c:pt>
                <c:pt idx="134">
                  <c:v>339</c:v>
                </c:pt>
                <c:pt idx="135">
                  <c:v>331</c:v>
                </c:pt>
                <c:pt idx="136">
                  <c:v>323</c:v>
                </c:pt>
                <c:pt idx="137">
                  <c:v>316</c:v>
                </c:pt>
                <c:pt idx="138">
                  <c:v>309</c:v>
                </c:pt>
                <c:pt idx="139">
                  <c:v>301</c:v>
                </c:pt>
                <c:pt idx="140">
                  <c:v>294</c:v>
                </c:pt>
                <c:pt idx="141">
                  <c:v>287</c:v>
                </c:pt>
                <c:pt idx="142">
                  <c:v>281</c:v>
                </c:pt>
                <c:pt idx="143">
                  <c:v>274</c:v>
                </c:pt>
                <c:pt idx="144">
                  <c:v>268</c:v>
                </c:pt>
                <c:pt idx="145">
                  <c:v>261</c:v>
                </c:pt>
                <c:pt idx="146">
                  <c:v>255</c:v>
                </c:pt>
                <c:pt idx="147">
                  <c:v>249</c:v>
                </c:pt>
                <c:pt idx="148">
                  <c:v>243</c:v>
                </c:pt>
                <c:pt idx="149">
                  <c:v>237</c:v>
                </c:pt>
                <c:pt idx="150">
                  <c:v>231</c:v>
                </c:pt>
                <c:pt idx="151">
                  <c:v>226</c:v>
                </c:pt>
                <c:pt idx="152">
                  <c:v>220</c:v>
                </c:pt>
                <c:pt idx="153">
                  <c:v>215</c:v>
                </c:pt>
                <c:pt idx="154">
                  <c:v>210</c:v>
                </c:pt>
                <c:pt idx="155">
                  <c:v>204</c:v>
                </c:pt>
                <c:pt idx="156">
                  <c:v>199</c:v>
                </c:pt>
                <c:pt idx="157">
                  <c:v>194</c:v>
                </c:pt>
                <c:pt idx="158">
                  <c:v>190</c:v>
                </c:pt>
                <c:pt idx="159">
                  <c:v>185</c:v>
                </c:pt>
                <c:pt idx="160">
                  <c:v>180</c:v>
                </c:pt>
                <c:pt idx="161">
                  <c:v>176</c:v>
                </c:pt>
                <c:pt idx="162">
                  <c:v>171</c:v>
                </c:pt>
                <c:pt idx="163">
                  <c:v>167</c:v>
                </c:pt>
                <c:pt idx="164">
                  <c:v>163</c:v>
                </c:pt>
                <c:pt idx="165">
                  <c:v>159</c:v>
                </c:pt>
                <c:pt idx="166">
                  <c:v>155</c:v>
                </c:pt>
                <c:pt idx="167">
                  <c:v>151</c:v>
                </c:pt>
                <c:pt idx="168">
                  <c:v>147</c:v>
                </c:pt>
                <c:pt idx="169">
                  <c:v>143</c:v>
                </c:pt>
                <c:pt idx="170">
                  <c:v>140</c:v>
                </c:pt>
                <c:pt idx="171">
                  <c:v>136</c:v>
                </c:pt>
                <c:pt idx="172">
                  <c:v>133</c:v>
                </c:pt>
                <c:pt idx="173">
                  <c:v>129</c:v>
                </c:pt>
                <c:pt idx="174">
                  <c:v>126</c:v>
                </c:pt>
                <c:pt idx="175">
                  <c:v>123</c:v>
                </c:pt>
                <c:pt idx="176">
                  <c:v>120</c:v>
                </c:pt>
                <c:pt idx="177">
                  <c:v>117</c:v>
                </c:pt>
                <c:pt idx="178">
                  <c:v>114</c:v>
                </c:pt>
                <c:pt idx="179">
                  <c:v>111</c:v>
                </c:pt>
                <c:pt idx="180">
                  <c:v>108</c:v>
                </c:pt>
                <c:pt idx="181">
                  <c:v>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46-4AAE-B339-C187F44711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34</c:v>
                </c:pt>
                <c:pt idx="1">
                  <c:v>162</c:v>
                </c:pt>
                <c:pt idx="2">
                  <c:v>280</c:v>
                </c:pt>
                <c:pt idx="3">
                  <c:v>260</c:v>
                </c:pt>
                <c:pt idx="4">
                  <c:v>143</c:v>
                </c:pt>
                <c:pt idx="5">
                  <c:v>42</c:v>
                </c:pt>
                <c:pt idx="6">
                  <c:v>245</c:v>
                </c:pt>
                <c:pt idx="7">
                  <c:v>302</c:v>
                </c:pt>
                <c:pt idx="8">
                  <c:v>301</c:v>
                </c:pt>
                <c:pt idx="9">
                  <c:v>294</c:v>
                </c:pt>
                <c:pt idx="10">
                  <c:v>284</c:v>
                </c:pt>
                <c:pt idx="11">
                  <c:v>179</c:v>
                </c:pt>
                <c:pt idx="12">
                  <c:v>86</c:v>
                </c:pt>
                <c:pt idx="13">
                  <c:v>300</c:v>
                </c:pt>
                <c:pt idx="14">
                  <c:v>437</c:v>
                </c:pt>
                <c:pt idx="15">
                  <c:v>475</c:v>
                </c:pt>
                <c:pt idx="16">
                  <c:v>377</c:v>
                </c:pt>
                <c:pt idx="17">
                  <c:v>378</c:v>
                </c:pt>
                <c:pt idx="18">
                  <c:v>233</c:v>
                </c:pt>
                <c:pt idx="19">
                  <c:v>139</c:v>
                </c:pt>
                <c:pt idx="20">
                  <c:v>426</c:v>
                </c:pt>
                <c:pt idx="21">
                  <c:v>538</c:v>
                </c:pt>
                <c:pt idx="22">
                  <c:v>667</c:v>
                </c:pt>
                <c:pt idx="23">
                  <c:v>46</c:v>
                </c:pt>
                <c:pt idx="24">
                  <c:v>165</c:v>
                </c:pt>
                <c:pt idx="25">
                  <c:v>175</c:v>
                </c:pt>
                <c:pt idx="26">
                  <c:v>123</c:v>
                </c:pt>
                <c:pt idx="27">
                  <c:v>535</c:v>
                </c:pt>
                <c:pt idx="28">
                  <c:v>649</c:v>
                </c:pt>
                <c:pt idx="29">
                  <c:v>661</c:v>
                </c:pt>
                <c:pt idx="30">
                  <c:v>461</c:v>
                </c:pt>
                <c:pt idx="31">
                  <c:v>24</c:v>
                </c:pt>
                <c:pt idx="32">
                  <c:v>456</c:v>
                </c:pt>
                <c:pt idx="33">
                  <c:v>376</c:v>
                </c:pt>
                <c:pt idx="34">
                  <c:v>635</c:v>
                </c:pt>
                <c:pt idx="35">
                  <c:v>630</c:v>
                </c:pt>
                <c:pt idx="36">
                  <c:v>754</c:v>
                </c:pt>
                <c:pt idx="37">
                  <c:v>721</c:v>
                </c:pt>
                <c:pt idx="38">
                  <c:v>658</c:v>
                </c:pt>
                <c:pt idx="39">
                  <c:v>456</c:v>
                </c:pt>
                <c:pt idx="40">
                  <c:v>294</c:v>
                </c:pt>
                <c:pt idx="41">
                  <c:v>597</c:v>
                </c:pt>
                <c:pt idx="42">
                  <c:v>586</c:v>
                </c:pt>
                <c:pt idx="43">
                  <c:v>641</c:v>
                </c:pt>
                <c:pt idx="44">
                  <c:v>498</c:v>
                </c:pt>
                <c:pt idx="45">
                  <c:v>467</c:v>
                </c:pt>
                <c:pt idx="46">
                  <c:v>211</c:v>
                </c:pt>
                <c:pt idx="47">
                  <c:v>161</c:v>
                </c:pt>
                <c:pt idx="48">
                  <c:v>539</c:v>
                </c:pt>
                <c:pt idx="49">
                  <c:v>478</c:v>
                </c:pt>
                <c:pt idx="50">
                  <c:v>411</c:v>
                </c:pt>
                <c:pt idx="51">
                  <c:v>413</c:v>
                </c:pt>
                <c:pt idx="52">
                  <c:v>333</c:v>
                </c:pt>
                <c:pt idx="53">
                  <c:v>201</c:v>
                </c:pt>
                <c:pt idx="54">
                  <c:v>121</c:v>
                </c:pt>
                <c:pt idx="55">
                  <c:v>443</c:v>
                </c:pt>
                <c:pt idx="56">
                  <c:v>497</c:v>
                </c:pt>
                <c:pt idx="57">
                  <c:v>420</c:v>
                </c:pt>
                <c:pt idx="58">
                  <c:v>413</c:v>
                </c:pt>
                <c:pt idx="59">
                  <c:v>393</c:v>
                </c:pt>
                <c:pt idx="60">
                  <c:v>167</c:v>
                </c:pt>
                <c:pt idx="61">
                  <c:v>127</c:v>
                </c:pt>
                <c:pt idx="62">
                  <c:v>451</c:v>
                </c:pt>
                <c:pt idx="63">
                  <c:v>446</c:v>
                </c:pt>
                <c:pt idx="64">
                  <c:v>451</c:v>
                </c:pt>
                <c:pt idx="65">
                  <c:v>448</c:v>
                </c:pt>
                <c:pt idx="66">
                  <c:v>440</c:v>
                </c:pt>
                <c:pt idx="67">
                  <c:v>188</c:v>
                </c:pt>
                <c:pt idx="68">
                  <c:v>129</c:v>
                </c:pt>
                <c:pt idx="69">
                  <c:v>514</c:v>
                </c:pt>
                <c:pt idx="70">
                  <c:v>488</c:v>
                </c:pt>
                <c:pt idx="71">
                  <c:v>488</c:v>
                </c:pt>
                <c:pt idx="72">
                  <c:v>487</c:v>
                </c:pt>
                <c:pt idx="73">
                  <c:v>508</c:v>
                </c:pt>
                <c:pt idx="74">
                  <c:v>239</c:v>
                </c:pt>
                <c:pt idx="75">
                  <c:v>150</c:v>
                </c:pt>
                <c:pt idx="76">
                  <c:v>523</c:v>
                </c:pt>
                <c:pt idx="77">
                  <c:v>622</c:v>
                </c:pt>
                <c:pt idx="78">
                  <c:v>648</c:v>
                </c:pt>
                <c:pt idx="79">
                  <c:v>568</c:v>
                </c:pt>
                <c:pt idx="80">
                  <c:v>590</c:v>
                </c:pt>
                <c:pt idx="81">
                  <c:v>324</c:v>
                </c:pt>
                <c:pt idx="82">
                  <c:v>175</c:v>
                </c:pt>
                <c:pt idx="83">
                  <c:v>724</c:v>
                </c:pt>
                <c:pt idx="84">
                  <c:v>781</c:v>
                </c:pt>
                <c:pt idx="85">
                  <c:v>825</c:v>
                </c:pt>
                <c:pt idx="86">
                  <c:v>853</c:v>
                </c:pt>
                <c:pt idx="87">
                  <c:v>825</c:v>
                </c:pt>
                <c:pt idx="88">
                  <c:v>402</c:v>
                </c:pt>
                <c:pt idx="89">
                  <c:v>255</c:v>
                </c:pt>
                <c:pt idx="90">
                  <c:v>761</c:v>
                </c:pt>
                <c:pt idx="91">
                  <c:v>862</c:v>
                </c:pt>
                <c:pt idx="92">
                  <c:v>868</c:v>
                </c:pt>
                <c:pt idx="93">
                  <c:v>828</c:v>
                </c:pt>
                <c:pt idx="94">
                  <c:v>746</c:v>
                </c:pt>
                <c:pt idx="95">
                  <c:v>444</c:v>
                </c:pt>
                <c:pt idx="96">
                  <c:v>246</c:v>
                </c:pt>
                <c:pt idx="97">
                  <c:v>688</c:v>
                </c:pt>
                <c:pt idx="98">
                  <c:v>767</c:v>
                </c:pt>
                <c:pt idx="99">
                  <c:v>776</c:v>
                </c:pt>
                <c:pt idx="100">
                  <c:v>722</c:v>
                </c:pt>
                <c:pt idx="101">
                  <c:v>981</c:v>
                </c:pt>
                <c:pt idx="102">
                  <c:v>391</c:v>
                </c:pt>
                <c:pt idx="103">
                  <c:v>199</c:v>
                </c:pt>
                <c:pt idx="104">
                  <c:v>708</c:v>
                </c:pt>
                <c:pt idx="105">
                  <c:v>751</c:v>
                </c:pt>
                <c:pt idx="106">
                  <c:v>647</c:v>
                </c:pt>
                <c:pt idx="107">
                  <c:v>455</c:v>
                </c:pt>
                <c:pt idx="108">
                  <c:v>253</c:v>
                </c:pt>
                <c:pt idx="109">
                  <c:v>475</c:v>
                </c:pt>
                <c:pt idx="110">
                  <c:v>114</c:v>
                </c:pt>
                <c:pt idx="111">
                  <c:v>551</c:v>
                </c:pt>
                <c:pt idx="112">
                  <c:v>541</c:v>
                </c:pt>
                <c:pt idx="113">
                  <c:v>474</c:v>
                </c:pt>
                <c:pt idx="114">
                  <c:v>370</c:v>
                </c:pt>
                <c:pt idx="115">
                  <c:v>361</c:v>
                </c:pt>
                <c:pt idx="116">
                  <c:v>167</c:v>
                </c:pt>
                <c:pt idx="117">
                  <c:v>83</c:v>
                </c:pt>
                <c:pt idx="118">
                  <c:v>378</c:v>
                </c:pt>
                <c:pt idx="119">
                  <c:v>380</c:v>
                </c:pt>
                <c:pt idx="120">
                  <c:v>287</c:v>
                </c:pt>
                <c:pt idx="121">
                  <c:v>321</c:v>
                </c:pt>
                <c:pt idx="122">
                  <c:v>126</c:v>
                </c:pt>
                <c:pt idx="123">
                  <c:v>94</c:v>
                </c:pt>
                <c:pt idx="124">
                  <c:v>118</c:v>
                </c:pt>
                <c:pt idx="125">
                  <c:v>32</c:v>
                </c:pt>
                <c:pt idx="126">
                  <c:v>271</c:v>
                </c:pt>
                <c:pt idx="127">
                  <c:v>273</c:v>
                </c:pt>
                <c:pt idx="128">
                  <c:v>274</c:v>
                </c:pt>
                <c:pt idx="129">
                  <c:v>198</c:v>
                </c:pt>
                <c:pt idx="130">
                  <c:v>50</c:v>
                </c:pt>
                <c:pt idx="131">
                  <c:v>48</c:v>
                </c:pt>
                <c:pt idx="132">
                  <c:v>214</c:v>
                </c:pt>
                <c:pt idx="133">
                  <c:v>170</c:v>
                </c:pt>
                <c:pt idx="134">
                  <c:v>108</c:v>
                </c:pt>
                <c:pt idx="135">
                  <c:v>143</c:v>
                </c:pt>
                <c:pt idx="136">
                  <c:v>115</c:v>
                </c:pt>
                <c:pt idx="137">
                  <c:v>25</c:v>
                </c:pt>
                <c:pt idx="138">
                  <c:v>35</c:v>
                </c:pt>
                <c:pt idx="139">
                  <c:v>149</c:v>
                </c:pt>
                <c:pt idx="140">
                  <c:v>133</c:v>
                </c:pt>
                <c:pt idx="141">
                  <c:v>106</c:v>
                </c:pt>
                <c:pt idx="142">
                  <c:v>89</c:v>
                </c:pt>
                <c:pt idx="143">
                  <c:v>98</c:v>
                </c:pt>
                <c:pt idx="144">
                  <c:v>32</c:v>
                </c:pt>
                <c:pt idx="145">
                  <c:v>28</c:v>
                </c:pt>
                <c:pt idx="146">
                  <c:v>117</c:v>
                </c:pt>
                <c:pt idx="147">
                  <c:v>93</c:v>
                </c:pt>
                <c:pt idx="148">
                  <c:v>69</c:v>
                </c:pt>
                <c:pt idx="149">
                  <c:v>77</c:v>
                </c:pt>
                <c:pt idx="150">
                  <c:v>79</c:v>
                </c:pt>
                <c:pt idx="151">
                  <c:v>4</c:v>
                </c:pt>
                <c:pt idx="152">
                  <c:v>30</c:v>
                </c:pt>
                <c:pt idx="153">
                  <c:v>111</c:v>
                </c:pt>
                <c:pt idx="154">
                  <c:v>78</c:v>
                </c:pt>
                <c:pt idx="155">
                  <c:v>56</c:v>
                </c:pt>
                <c:pt idx="156">
                  <c:v>65</c:v>
                </c:pt>
                <c:pt idx="157">
                  <c:v>55</c:v>
                </c:pt>
                <c:pt idx="158">
                  <c:v>11</c:v>
                </c:pt>
                <c:pt idx="159">
                  <c:v>15</c:v>
                </c:pt>
                <c:pt idx="160">
                  <c:v>69</c:v>
                </c:pt>
                <c:pt idx="161">
                  <c:v>72</c:v>
                </c:pt>
                <c:pt idx="162">
                  <c:v>43</c:v>
                </c:pt>
                <c:pt idx="163">
                  <c:v>34</c:v>
                </c:pt>
                <c:pt idx="164">
                  <c:v>50</c:v>
                </c:pt>
                <c:pt idx="165">
                  <c:v>12</c:v>
                </c:pt>
                <c:pt idx="166">
                  <c:v>12</c:v>
                </c:pt>
                <c:pt idx="167">
                  <c:v>61</c:v>
                </c:pt>
                <c:pt idx="168">
                  <c:v>42</c:v>
                </c:pt>
                <c:pt idx="169">
                  <c:v>38</c:v>
                </c:pt>
                <c:pt idx="170">
                  <c:v>47</c:v>
                </c:pt>
                <c:pt idx="171">
                  <c:v>43</c:v>
                </c:pt>
                <c:pt idx="172">
                  <c:v>16</c:v>
                </c:pt>
                <c:pt idx="173">
                  <c:v>12</c:v>
                </c:pt>
                <c:pt idx="174">
                  <c:v>36</c:v>
                </c:pt>
                <c:pt idx="175">
                  <c:v>34</c:v>
                </c:pt>
                <c:pt idx="176">
                  <c:v>22</c:v>
                </c:pt>
                <c:pt idx="177">
                  <c:v>22</c:v>
                </c:pt>
                <c:pt idx="178">
                  <c:v>22</c:v>
                </c:pt>
                <c:pt idx="179">
                  <c:v>11</c:v>
                </c:pt>
                <c:pt idx="18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690</c:v>
                </c:pt>
                <c:pt idx="89">
                  <c:v>690</c:v>
                </c:pt>
                <c:pt idx="90">
                  <c:v>685</c:v>
                </c:pt>
                <c:pt idx="91">
                  <c:v>679</c:v>
                </c:pt>
                <c:pt idx="92">
                  <c:v>671</c:v>
                </c:pt>
                <c:pt idx="93">
                  <c:v>662</c:v>
                </c:pt>
                <c:pt idx="94">
                  <c:v>653</c:v>
                </c:pt>
                <c:pt idx="95">
                  <c:v>643</c:v>
                </c:pt>
                <c:pt idx="96">
                  <c:v>633</c:v>
                </c:pt>
                <c:pt idx="97">
                  <c:v>623</c:v>
                </c:pt>
                <c:pt idx="98">
                  <c:v>612</c:v>
                </c:pt>
                <c:pt idx="99">
                  <c:v>601</c:v>
                </c:pt>
                <c:pt idx="100">
                  <c:v>590</c:v>
                </c:pt>
                <c:pt idx="101">
                  <c:v>579</c:v>
                </c:pt>
                <c:pt idx="102">
                  <c:v>568</c:v>
                </c:pt>
                <c:pt idx="103">
                  <c:v>556</c:v>
                </c:pt>
                <c:pt idx="104">
                  <c:v>545</c:v>
                </c:pt>
                <c:pt idx="105">
                  <c:v>533</c:v>
                </c:pt>
                <c:pt idx="106">
                  <c:v>521</c:v>
                </c:pt>
                <c:pt idx="107">
                  <c:v>510</c:v>
                </c:pt>
                <c:pt idx="108">
                  <c:v>498</c:v>
                </c:pt>
                <c:pt idx="109">
                  <c:v>486</c:v>
                </c:pt>
                <c:pt idx="110">
                  <c:v>475</c:v>
                </c:pt>
                <c:pt idx="111">
                  <c:v>463</c:v>
                </c:pt>
                <c:pt idx="112">
                  <c:v>452</c:v>
                </c:pt>
                <c:pt idx="113">
                  <c:v>441</c:v>
                </c:pt>
                <c:pt idx="114">
                  <c:v>429</c:v>
                </c:pt>
                <c:pt idx="115">
                  <c:v>418</c:v>
                </c:pt>
                <c:pt idx="116">
                  <c:v>407</c:v>
                </c:pt>
                <c:pt idx="117">
                  <c:v>396</c:v>
                </c:pt>
                <c:pt idx="118">
                  <c:v>386</c:v>
                </c:pt>
                <c:pt idx="119">
                  <c:v>376</c:v>
                </c:pt>
                <c:pt idx="120">
                  <c:v>365</c:v>
                </c:pt>
                <c:pt idx="121">
                  <c:v>355</c:v>
                </c:pt>
                <c:pt idx="122">
                  <c:v>346</c:v>
                </c:pt>
                <c:pt idx="123">
                  <c:v>336</c:v>
                </c:pt>
                <c:pt idx="124">
                  <c:v>327</c:v>
                </c:pt>
                <c:pt idx="125">
                  <c:v>317</c:v>
                </c:pt>
                <c:pt idx="126">
                  <c:v>308</c:v>
                </c:pt>
                <c:pt idx="127">
                  <c:v>300</c:v>
                </c:pt>
                <c:pt idx="128">
                  <c:v>291</c:v>
                </c:pt>
                <c:pt idx="129">
                  <c:v>283</c:v>
                </c:pt>
                <c:pt idx="130">
                  <c:v>275</c:v>
                </c:pt>
                <c:pt idx="131">
                  <c:v>267</c:v>
                </c:pt>
                <c:pt idx="132">
                  <c:v>259</c:v>
                </c:pt>
                <c:pt idx="133">
                  <c:v>251</c:v>
                </c:pt>
                <c:pt idx="134">
                  <c:v>243</c:v>
                </c:pt>
                <c:pt idx="135">
                  <c:v>236</c:v>
                </c:pt>
                <c:pt idx="136">
                  <c:v>229</c:v>
                </c:pt>
                <c:pt idx="137">
                  <c:v>221</c:v>
                </c:pt>
                <c:pt idx="138">
                  <c:v>214</c:v>
                </c:pt>
                <c:pt idx="139">
                  <c:v>208</c:v>
                </c:pt>
                <c:pt idx="140">
                  <c:v>201</c:v>
                </c:pt>
                <c:pt idx="141">
                  <c:v>195</c:v>
                </c:pt>
                <c:pt idx="142">
                  <c:v>188</c:v>
                </c:pt>
                <c:pt idx="143">
                  <c:v>182</c:v>
                </c:pt>
                <c:pt idx="144">
                  <c:v>176</c:v>
                </c:pt>
                <c:pt idx="145">
                  <c:v>170</c:v>
                </c:pt>
                <c:pt idx="146">
                  <c:v>165</c:v>
                </c:pt>
                <c:pt idx="147">
                  <c:v>159</c:v>
                </c:pt>
                <c:pt idx="148">
                  <c:v>154</c:v>
                </c:pt>
                <c:pt idx="149">
                  <c:v>149</c:v>
                </c:pt>
                <c:pt idx="150">
                  <c:v>144</c:v>
                </c:pt>
                <c:pt idx="151">
                  <c:v>139</c:v>
                </c:pt>
                <c:pt idx="152">
                  <c:v>134</c:v>
                </c:pt>
                <c:pt idx="153">
                  <c:v>129</c:v>
                </c:pt>
                <c:pt idx="154">
                  <c:v>125</c:v>
                </c:pt>
                <c:pt idx="155">
                  <c:v>121</c:v>
                </c:pt>
                <c:pt idx="156">
                  <c:v>116</c:v>
                </c:pt>
                <c:pt idx="157">
                  <c:v>112</c:v>
                </c:pt>
                <c:pt idx="158">
                  <c:v>108</c:v>
                </c:pt>
                <c:pt idx="159">
                  <c:v>105</c:v>
                </c:pt>
                <c:pt idx="160">
                  <c:v>101</c:v>
                </c:pt>
                <c:pt idx="161">
                  <c:v>97</c:v>
                </c:pt>
                <c:pt idx="162">
                  <c:v>93</c:v>
                </c:pt>
                <c:pt idx="163">
                  <c:v>89</c:v>
                </c:pt>
                <c:pt idx="164">
                  <c:v>85</c:v>
                </c:pt>
                <c:pt idx="165">
                  <c:v>81</c:v>
                </c:pt>
                <c:pt idx="166">
                  <c:v>78</c:v>
                </c:pt>
                <c:pt idx="167">
                  <c:v>74</c:v>
                </c:pt>
                <c:pt idx="168">
                  <c:v>70</c:v>
                </c:pt>
                <c:pt idx="169">
                  <c:v>67</c:v>
                </c:pt>
                <c:pt idx="170">
                  <c:v>64</c:v>
                </c:pt>
                <c:pt idx="171">
                  <c:v>60</c:v>
                </c:pt>
                <c:pt idx="172">
                  <c:v>57</c:v>
                </c:pt>
                <c:pt idx="173">
                  <c:v>54</c:v>
                </c:pt>
                <c:pt idx="174">
                  <c:v>51</c:v>
                </c:pt>
                <c:pt idx="175">
                  <c:v>49</c:v>
                </c:pt>
                <c:pt idx="176">
                  <c:v>46</c:v>
                </c:pt>
                <c:pt idx="177">
                  <c:v>43</c:v>
                </c:pt>
                <c:pt idx="178">
                  <c:v>41</c:v>
                </c:pt>
                <c:pt idx="179">
                  <c:v>39</c:v>
                </c:pt>
                <c:pt idx="180">
                  <c:v>37</c:v>
                </c:pt>
                <c:pt idx="181">
                  <c:v>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755</c:v>
                </c:pt>
                <c:pt idx="89">
                  <c:v>757</c:v>
                </c:pt>
                <c:pt idx="90">
                  <c:v>755</c:v>
                </c:pt>
                <c:pt idx="91">
                  <c:v>749</c:v>
                </c:pt>
                <c:pt idx="92">
                  <c:v>743</c:v>
                </c:pt>
                <c:pt idx="93">
                  <c:v>735</c:v>
                </c:pt>
                <c:pt idx="94">
                  <c:v>727</c:v>
                </c:pt>
                <c:pt idx="95">
                  <c:v>718</c:v>
                </c:pt>
                <c:pt idx="96">
                  <c:v>709</c:v>
                </c:pt>
                <c:pt idx="97">
                  <c:v>700</c:v>
                </c:pt>
                <c:pt idx="98">
                  <c:v>690</c:v>
                </c:pt>
                <c:pt idx="99">
                  <c:v>680</c:v>
                </c:pt>
                <c:pt idx="100">
                  <c:v>670</c:v>
                </c:pt>
                <c:pt idx="101">
                  <c:v>659</c:v>
                </c:pt>
                <c:pt idx="102">
                  <c:v>649</c:v>
                </c:pt>
                <c:pt idx="103">
                  <c:v>638</c:v>
                </c:pt>
                <c:pt idx="104">
                  <c:v>627</c:v>
                </c:pt>
                <c:pt idx="105">
                  <c:v>617</c:v>
                </c:pt>
                <c:pt idx="106">
                  <c:v>606</c:v>
                </c:pt>
                <c:pt idx="107">
                  <c:v>595</c:v>
                </c:pt>
                <c:pt idx="108">
                  <c:v>585</c:v>
                </c:pt>
                <c:pt idx="109">
                  <c:v>574</c:v>
                </c:pt>
                <c:pt idx="110">
                  <c:v>563</c:v>
                </c:pt>
                <c:pt idx="111">
                  <c:v>553</c:v>
                </c:pt>
                <c:pt idx="112">
                  <c:v>542</c:v>
                </c:pt>
                <c:pt idx="113">
                  <c:v>532</c:v>
                </c:pt>
                <c:pt idx="114">
                  <c:v>521</c:v>
                </c:pt>
                <c:pt idx="115">
                  <c:v>511</c:v>
                </c:pt>
                <c:pt idx="116">
                  <c:v>501</c:v>
                </c:pt>
                <c:pt idx="117">
                  <c:v>491</c:v>
                </c:pt>
                <c:pt idx="118">
                  <c:v>481</c:v>
                </c:pt>
                <c:pt idx="119">
                  <c:v>471</c:v>
                </c:pt>
                <c:pt idx="120">
                  <c:v>461</c:v>
                </c:pt>
                <c:pt idx="121">
                  <c:v>451</c:v>
                </c:pt>
                <c:pt idx="122">
                  <c:v>442</c:v>
                </c:pt>
                <c:pt idx="123">
                  <c:v>433</c:v>
                </c:pt>
                <c:pt idx="124">
                  <c:v>423</c:v>
                </c:pt>
                <c:pt idx="125">
                  <c:v>414</c:v>
                </c:pt>
                <c:pt idx="126">
                  <c:v>405</c:v>
                </c:pt>
                <c:pt idx="127">
                  <c:v>396</c:v>
                </c:pt>
                <c:pt idx="128">
                  <c:v>388</c:v>
                </c:pt>
                <c:pt idx="129">
                  <c:v>379</c:v>
                </c:pt>
                <c:pt idx="130">
                  <c:v>371</c:v>
                </c:pt>
                <c:pt idx="131">
                  <c:v>363</c:v>
                </c:pt>
                <c:pt idx="132">
                  <c:v>354</c:v>
                </c:pt>
                <c:pt idx="133">
                  <c:v>346</c:v>
                </c:pt>
                <c:pt idx="134">
                  <c:v>339</c:v>
                </c:pt>
                <c:pt idx="135">
                  <c:v>331</c:v>
                </c:pt>
                <c:pt idx="136">
                  <c:v>323</c:v>
                </c:pt>
                <c:pt idx="137">
                  <c:v>316</c:v>
                </c:pt>
                <c:pt idx="138">
                  <c:v>309</c:v>
                </c:pt>
                <c:pt idx="139">
                  <c:v>301</c:v>
                </c:pt>
                <c:pt idx="140">
                  <c:v>294</c:v>
                </c:pt>
                <c:pt idx="141">
                  <c:v>287</c:v>
                </c:pt>
                <c:pt idx="142">
                  <c:v>281</c:v>
                </c:pt>
                <c:pt idx="143">
                  <c:v>274</c:v>
                </c:pt>
                <c:pt idx="144">
                  <c:v>268</c:v>
                </c:pt>
                <c:pt idx="145">
                  <c:v>261</c:v>
                </c:pt>
                <c:pt idx="146">
                  <c:v>255</c:v>
                </c:pt>
                <c:pt idx="147">
                  <c:v>249</c:v>
                </c:pt>
                <c:pt idx="148">
                  <c:v>243</c:v>
                </c:pt>
                <c:pt idx="149">
                  <c:v>237</c:v>
                </c:pt>
                <c:pt idx="150">
                  <c:v>231</c:v>
                </c:pt>
                <c:pt idx="151">
                  <c:v>226</c:v>
                </c:pt>
                <c:pt idx="152">
                  <c:v>220</c:v>
                </c:pt>
                <c:pt idx="153">
                  <c:v>215</c:v>
                </c:pt>
                <c:pt idx="154">
                  <c:v>210</c:v>
                </c:pt>
                <c:pt idx="155">
                  <c:v>204</c:v>
                </c:pt>
                <c:pt idx="156">
                  <c:v>199</c:v>
                </c:pt>
                <c:pt idx="157">
                  <c:v>194</c:v>
                </c:pt>
                <c:pt idx="158">
                  <c:v>190</c:v>
                </c:pt>
                <c:pt idx="159">
                  <c:v>185</c:v>
                </c:pt>
                <c:pt idx="160">
                  <c:v>180</c:v>
                </c:pt>
                <c:pt idx="161">
                  <c:v>176</c:v>
                </c:pt>
                <c:pt idx="162">
                  <c:v>171</c:v>
                </c:pt>
                <c:pt idx="163">
                  <c:v>167</c:v>
                </c:pt>
                <c:pt idx="164">
                  <c:v>163</c:v>
                </c:pt>
                <c:pt idx="165">
                  <c:v>159</c:v>
                </c:pt>
                <c:pt idx="166">
                  <c:v>155</c:v>
                </c:pt>
                <c:pt idx="167">
                  <c:v>151</c:v>
                </c:pt>
                <c:pt idx="168">
                  <c:v>147</c:v>
                </c:pt>
                <c:pt idx="169">
                  <c:v>143</c:v>
                </c:pt>
                <c:pt idx="170">
                  <c:v>140</c:v>
                </c:pt>
                <c:pt idx="171">
                  <c:v>136</c:v>
                </c:pt>
                <c:pt idx="172">
                  <c:v>133</c:v>
                </c:pt>
                <c:pt idx="173">
                  <c:v>129</c:v>
                </c:pt>
                <c:pt idx="174">
                  <c:v>126</c:v>
                </c:pt>
                <c:pt idx="175">
                  <c:v>123</c:v>
                </c:pt>
                <c:pt idx="176">
                  <c:v>120</c:v>
                </c:pt>
                <c:pt idx="177">
                  <c:v>117</c:v>
                </c:pt>
                <c:pt idx="178">
                  <c:v>114</c:v>
                </c:pt>
                <c:pt idx="179">
                  <c:v>111</c:v>
                </c:pt>
                <c:pt idx="180">
                  <c:v>108</c:v>
                </c:pt>
                <c:pt idx="181">
                  <c:v>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4</c:v>
                </c:pt>
                <c:pt idx="1">
                  <c:v>162</c:v>
                </c:pt>
                <c:pt idx="2">
                  <c:v>280</c:v>
                </c:pt>
                <c:pt idx="3">
                  <c:v>260</c:v>
                </c:pt>
                <c:pt idx="4">
                  <c:v>143</c:v>
                </c:pt>
                <c:pt idx="5">
                  <c:v>42</c:v>
                </c:pt>
                <c:pt idx="6">
                  <c:v>245</c:v>
                </c:pt>
                <c:pt idx="7">
                  <c:v>302</c:v>
                </c:pt>
                <c:pt idx="8">
                  <c:v>301</c:v>
                </c:pt>
                <c:pt idx="9">
                  <c:v>294</c:v>
                </c:pt>
                <c:pt idx="10">
                  <c:v>284</c:v>
                </c:pt>
                <c:pt idx="11">
                  <c:v>179</c:v>
                </c:pt>
                <c:pt idx="12">
                  <c:v>86</c:v>
                </c:pt>
                <c:pt idx="13">
                  <c:v>300</c:v>
                </c:pt>
                <c:pt idx="14">
                  <c:v>437</c:v>
                </c:pt>
                <c:pt idx="15">
                  <c:v>475</c:v>
                </c:pt>
                <c:pt idx="16">
                  <c:v>377</c:v>
                </c:pt>
                <c:pt idx="17">
                  <c:v>378</c:v>
                </c:pt>
                <c:pt idx="18">
                  <c:v>233</c:v>
                </c:pt>
                <c:pt idx="19">
                  <c:v>139</c:v>
                </c:pt>
                <c:pt idx="20">
                  <c:v>426</c:v>
                </c:pt>
                <c:pt idx="21">
                  <c:v>538</c:v>
                </c:pt>
                <c:pt idx="22">
                  <c:v>667</c:v>
                </c:pt>
                <c:pt idx="23">
                  <c:v>46</c:v>
                </c:pt>
                <c:pt idx="24">
                  <c:v>165</c:v>
                </c:pt>
                <c:pt idx="25">
                  <c:v>175</c:v>
                </c:pt>
                <c:pt idx="26">
                  <c:v>123</c:v>
                </c:pt>
                <c:pt idx="27">
                  <c:v>535</c:v>
                </c:pt>
                <c:pt idx="28">
                  <c:v>649</c:v>
                </c:pt>
                <c:pt idx="29">
                  <c:v>661</c:v>
                </c:pt>
                <c:pt idx="30">
                  <c:v>461</c:v>
                </c:pt>
                <c:pt idx="31">
                  <c:v>24</c:v>
                </c:pt>
                <c:pt idx="32">
                  <c:v>456</c:v>
                </c:pt>
                <c:pt idx="33">
                  <c:v>376</c:v>
                </c:pt>
                <c:pt idx="34">
                  <c:v>635</c:v>
                </c:pt>
                <c:pt idx="35">
                  <c:v>630</c:v>
                </c:pt>
                <c:pt idx="36">
                  <c:v>754</c:v>
                </c:pt>
                <c:pt idx="37">
                  <c:v>721</c:v>
                </c:pt>
                <c:pt idx="38">
                  <c:v>658</c:v>
                </c:pt>
                <c:pt idx="39">
                  <c:v>456</c:v>
                </c:pt>
                <c:pt idx="40">
                  <c:v>294</c:v>
                </c:pt>
                <c:pt idx="41">
                  <c:v>597</c:v>
                </c:pt>
                <c:pt idx="42">
                  <c:v>586</c:v>
                </c:pt>
                <c:pt idx="43">
                  <c:v>641</c:v>
                </c:pt>
                <c:pt idx="44">
                  <c:v>498</c:v>
                </c:pt>
                <c:pt idx="45">
                  <c:v>467</c:v>
                </c:pt>
                <c:pt idx="46">
                  <c:v>211</c:v>
                </c:pt>
                <c:pt idx="47">
                  <c:v>161</c:v>
                </c:pt>
                <c:pt idx="48">
                  <c:v>539</c:v>
                </c:pt>
                <c:pt idx="49">
                  <c:v>478</c:v>
                </c:pt>
                <c:pt idx="50">
                  <c:v>411</c:v>
                </c:pt>
                <c:pt idx="51">
                  <c:v>413</c:v>
                </c:pt>
                <c:pt idx="52">
                  <c:v>333</c:v>
                </c:pt>
                <c:pt idx="53">
                  <c:v>201</c:v>
                </c:pt>
                <c:pt idx="54">
                  <c:v>121</c:v>
                </c:pt>
                <c:pt idx="55">
                  <c:v>443</c:v>
                </c:pt>
                <c:pt idx="56">
                  <c:v>497</c:v>
                </c:pt>
                <c:pt idx="57">
                  <c:v>420</c:v>
                </c:pt>
                <c:pt idx="58">
                  <c:v>413</c:v>
                </c:pt>
                <c:pt idx="59">
                  <c:v>393</c:v>
                </c:pt>
                <c:pt idx="60">
                  <c:v>167</c:v>
                </c:pt>
                <c:pt idx="61">
                  <c:v>127</c:v>
                </c:pt>
                <c:pt idx="62">
                  <c:v>451</c:v>
                </c:pt>
                <c:pt idx="63">
                  <c:v>446</c:v>
                </c:pt>
                <c:pt idx="64">
                  <c:v>451</c:v>
                </c:pt>
                <c:pt idx="65">
                  <c:v>448</c:v>
                </c:pt>
                <c:pt idx="66">
                  <c:v>440</c:v>
                </c:pt>
                <c:pt idx="67">
                  <c:v>188</c:v>
                </c:pt>
                <c:pt idx="68">
                  <c:v>129</c:v>
                </c:pt>
                <c:pt idx="69">
                  <c:v>514</c:v>
                </c:pt>
                <c:pt idx="70">
                  <c:v>488</c:v>
                </c:pt>
                <c:pt idx="71">
                  <c:v>488</c:v>
                </c:pt>
                <c:pt idx="72">
                  <c:v>487</c:v>
                </c:pt>
                <c:pt idx="73">
                  <c:v>508</c:v>
                </c:pt>
                <c:pt idx="74">
                  <c:v>239</c:v>
                </c:pt>
                <c:pt idx="75">
                  <c:v>150</c:v>
                </c:pt>
                <c:pt idx="76">
                  <c:v>523</c:v>
                </c:pt>
                <c:pt idx="77">
                  <c:v>622</c:v>
                </c:pt>
                <c:pt idx="78">
                  <c:v>648</c:v>
                </c:pt>
                <c:pt idx="79">
                  <c:v>568</c:v>
                </c:pt>
                <c:pt idx="80">
                  <c:v>590</c:v>
                </c:pt>
                <c:pt idx="81">
                  <c:v>324</c:v>
                </c:pt>
                <c:pt idx="82">
                  <c:v>175</c:v>
                </c:pt>
                <c:pt idx="83">
                  <c:v>724</c:v>
                </c:pt>
                <c:pt idx="84">
                  <c:v>781</c:v>
                </c:pt>
                <c:pt idx="85">
                  <c:v>825</c:v>
                </c:pt>
                <c:pt idx="86">
                  <c:v>853</c:v>
                </c:pt>
                <c:pt idx="87">
                  <c:v>825</c:v>
                </c:pt>
                <c:pt idx="88">
                  <c:v>402</c:v>
                </c:pt>
                <c:pt idx="89">
                  <c:v>255</c:v>
                </c:pt>
                <c:pt idx="90">
                  <c:v>761</c:v>
                </c:pt>
                <c:pt idx="91">
                  <c:v>862</c:v>
                </c:pt>
                <c:pt idx="92">
                  <c:v>868</c:v>
                </c:pt>
                <c:pt idx="93">
                  <c:v>828</c:v>
                </c:pt>
                <c:pt idx="94">
                  <c:v>746</c:v>
                </c:pt>
                <c:pt idx="95">
                  <c:v>444</c:v>
                </c:pt>
                <c:pt idx="96">
                  <c:v>246</c:v>
                </c:pt>
                <c:pt idx="97">
                  <c:v>688</c:v>
                </c:pt>
                <c:pt idx="98">
                  <c:v>767</c:v>
                </c:pt>
                <c:pt idx="99">
                  <c:v>776</c:v>
                </c:pt>
                <c:pt idx="100">
                  <c:v>722</c:v>
                </c:pt>
                <c:pt idx="101">
                  <c:v>981</c:v>
                </c:pt>
                <c:pt idx="102">
                  <c:v>391</c:v>
                </c:pt>
                <c:pt idx="103">
                  <c:v>199</c:v>
                </c:pt>
                <c:pt idx="104">
                  <c:v>708</c:v>
                </c:pt>
                <c:pt idx="105">
                  <c:v>751</c:v>
                </c:pt>
                <c:pt idx="106">
                  <c:v>647</c:v>
                </c:pt>
                <c:pt idx="107">
                  <c:v>455</c:v>
                </c:pt>
                <c:pt idx="108">
                  <c:v>253</c:v>
                </c:pt>
                <c:pt idx="109">
                  <c:v>475</c:v>
                </c:pt>
                <c:pt idx="110">
                  <c:v>114</c:v>
                </c:pt>
                <c:pt idx="111">
                  <c:v>551</c:v>
                </c:pt>
                <c:pt idx="112">
                  <c:v>541</c:v>
                </c:pt>
                <c:pt idx="113">
                  <c:v>474</c:v>
                </c:pt>
                <c:pt idx="114">
                  <c:v>370</c:v>
                </c:pt>
                <c:pt idx="115">
                  <c:v>361</c:v>
                </c:pt>
                <c:pt idx="116">
                  <c:v>167</c:v>
                </c:pt>
                <c:pt idx="117">
                  <c:v>83</c:v>
                </c:pt>
                <c:pt idx="118">
                  <c:v>378</c:v>
                </c:pt>
                <c:pt idx="119">
                  <c:v>380</c:v>
                </c:pt>
                <c:pt idx="120">
                  <c:v>287</c:v>
                </c:pt>
                <c:pt idx="121">
                  <c:v>321</c:v>
                </c:pt>
                <c:pt idx="122">
                  <c:v>126</c:v>
                </c:pt>
                <c:pt idx="123">
                  <c:v>94</c:v>
                </c:pt>
                <c:pt idx="124">
                  <c:v>118</c:v>
                </c:pt>
                <c:pt idx="125">
                  <c:v>32</c:v>
                </c:pt>
                <c:pt idx="126">
                  <c:v>271</c:v>
                </c:pt>
                <c:pt idx="127">
                  <c:v>273</c:v>
                </c:pt>
                <c:pt idx="128">
                  <c:v>274</c:v>
                </c:pt>
                <c:pt idx="129">
                  <c:v>198</c:v>
                </c:pt>
                <c:pt idx="130">
                  <c:v>50</c:v>
                </c:pt>
                <c:pt idx="131">
                  <c:v>48</c:v>
                </c:pt>
                <c:pt idx="132">
                  <c:v>214</c:v>
                </c:pt>
                <c:pt idx="133">
                  <c:v>170</c:v>
                </c:pt>
                <c:pt idx="134">
                  <c:v>108</c:v>
                </c:pt>
                <c:pt idx="135">
                  <c:v>143</c:v>
                </c:pt>
                <c:pt idx="136">
                  <c:v>115</c:v>
                </c:pt>
                <c:pt idx="137">
                  <c:v>25</c:v>
                </c:pt>
                <c:pt idx="138">
                  <c:v>35</c:v>
                </c:pt>
                <c:pt idx="139">
                  <c:v>149</c:v>
                </c:pt>
                <c:pt idx="140">
                  <c:v>133</c:v>
                </c:pt>
                <c:pt idx="141">
                  <c:v>106</c:v>
                </c:pt>
                <c:pt idx="142">
                  <c:v>89</c:v>
                </c:pt>
                <c:pt idx="143">
                  <c:v>98</c:v>
                </c:pt>
                <c:pt idx="144">
                  <c:v>32</c:v>
                </c:pt>
                <c:pt idx="145">
                  <c:v>28</c:v>
                </c:pt>
                <c:pt idx="146">
                  <c:v>117</c:v>
                </c:pt>
                <c:pt idx="147">
                  <c:v>93</c:v>
                </c:pt>
                <c:pt idx="148">
                  <c:v>69</c:v>
                </c:pt>
                <c:pt idx="149">
                  <c:v>77</c:v>
                </c:pt>
                <c:pt idx="150">
                  <c:v>79</c:v>
                </c:pt>
                <c:pt idx="151">
                  <c:v>4</c:v>
                </c:pt>
                <c:pt idx="152">
                  <c:v>30</c:v>
                </c:pt>
                <c:pt idx="153">
                  <c:v>111</c:v>
                </c:pt>
                <c:pt idx="154">
                  <c:v>78</c:v>
                </c:pt>
                <c:pt idx="155">
                  <c:v>56</c:v>
                </c:pt>
                <c:pt idx="156">
                  <c:v>65</c:v>
                </c:pt>
                <c:pt idx="157">
                  <c:v>55</c:v>
                </c:pt>
                <c:pt idx="158">
                  <c:v>11</c:v>
                </c:pt>
                <c:pt idx="159">
                  <c:v>15</c:v>
                </c:pt>
                <c:pt idx="160">
                  <c:v>69</c:v>
                </c:pt>
                <c:pt idx="161">
                  <c:v>72</c:v>
                </c:pt>
                <c:pt idx="162">
                  <c:v>43</c:v>
                </c:pt>
                <c:pt idx="163">
                  <c:v>34</c:v>
                </c:pt>
                <c:pt idx="164">
                  <c:v>50</c:v>
                </c:pt>
                <c:pt idx="165">
                  <c:v>12</c:v>
                </c:pt>
                <c:pt idx="166">
                  <c:v>12</c:v>
                </c:pt>
                <c:pt idx="167">
                  <c:v>61</c:v>
                </c:pt>
                <c:pt idx="168">
                  <c:v>42</c:v>
                </c:pt>
                <c:pt idx="169">
                  <c:v>38</c:v>
                </c:pt>
                <c:pt idx="170">
                  <c:v>47</c:v>
                </c:pt>
                <c:pt idx="171">
                  <c:v>43</c:v>
                </c:pt>
                <c:pt idx="172">
                  <c:v>16</c:v>
                </c:pt>
                <c:pt idx="173">
                  <c:v>12</c:v>
                </c:pt>
                <c:pt idx="174">
                  <c:v>36</c:v>
                </c:pt>
                <c:pt idx="175">
                  <c:v>34</c:v>
                </c:pt>
                <c:pt idx="176">
                  <c:v>22</c:v>
                </c:pt>
                <c:pt idx="177">
                  <c:v>22</c:v>
                </c:pt>
                <c:pt idx="178">
                  <c:v>22</c:v>
                </c:pt>
                <c:pt idx="179">
                  <c:v>11</c:v>
                </c:pt>
                <c:pt idx="18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FF-4CA0-813B-4825C82D03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8</c:v>
                </c:pt>
                <c:pt idx="169">
                  <c:v>46</c:v>
                </c:pt>
                <c:pt idx="170">
                  <c:v>44</c:v>
                </c:pt>
                <c:pt idx="171">
                  <c:v>42</c:v>
                </c:pt>
                <c:pt idx="172">
                  <c:v>40</c:v>
                </c:pt>
                <c:pt idx="173">
                  <c:v>38</c:v>
                </c:pt>
                <c:pt idx="174">
                  <c:v>36</c:v>
                </c:pt>
                <c:pt idx="175">
                  <c:v>34</c:v>
                </c:pt>
                <c:pt idx="176">
                  <c:v>32</c:v>
                </c:pt>
                <c:pt idx="177">
                  <c:v>31</c:v>
                </c:pt>
                <c:pt idx="178">
                  <c:v>29</c:v>
                </c:pt>
                <c:pt idx="179">
                  <c:v>28</c:v>
                </c:pt>
                <c:pt idx="180">
                  <c:v>26</c:v>
                </c:pt>
                <c:pt idx="181">
                  <c:v>25</c:v>
                </c:pt>
                <c:pt idx="182">
                  <c:v>23</c:v>
                </c:pt>
                <c:pt idx="183">
                  <c:v>22</c:v>
                </c:pt>
                <c:pt idx="184">
                  <c:v>21</c:v>
                </c:pt>
                <c:pt idx="185">
                  <c:v>19</c:v>
                </c:pt>
                <c:pt idx="186">
                  <c:v>18</c:v>
                </c:pt>
                <c:pt idx="187">
                  <c:v>17</c:v>
                </c:pt>
                <c:pt idx="188">
                  <c:v>16</c:v>
                </c:pt>
                <c:pt idx="189">
                  <c:v>15</c:v>
                </c:pt>
                <c:pt idx="190">
                  <c:v>14</c:v>
                </c:pt>
                <c:pt idx="191">
                  <c:v>14</c:v>
                </c:pt>
                <c:pt idx="192">
                  <c:v>13</c:v>
                </c:pt>
                <c:pt idx="193">
                  <c:v>12</c:v>
                </c:pt>
                <c:pt idx="194">
                  <c:v>11</c:v>
                </c:pt>
                <c:pt idx="195">
                  <c:v>11</c:v>
                </c:pt>
                <c:pt idx="196">
                  <c:v>10</c:v>
                </c:pt>
                <c:pt idx="197">
                  <c:v>9</c:v>
                </c:pt>
                <c:pt idx="198">
                  <c:v>9</c:v>
                </c:pt>
                <c:pt idx="199">
                  <c:v>8</c:v>
                </c:pt>
                <c:pt idx="200">
                  <c:v>8</c:v>
                </c:pt>
                <c:pt idx="201">
                  <c:v>7</c:v>
                </c:pt>
                <c:pt idx="202">
                  <c:v>7</c:v>
                </c:pt>
                <c:pt idx="203">
                  <c:v>6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EFF-4CA0-813B-4825C82D03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9</c:v>
                </c:pt>
                <c:pt idx="169">
                  <c:v>48</c:v>
                </c:pt>
                <c:pt idx="170">
                  <c:v>48</c:v>
                </c:pt>
                <c:pt idx="171">
                  <c:v>48</c:v>
                </c:pt>
                <c:pt idx="172">
                  <c:v>48</c:v>
                </c:pt>
                <c:pt idx="173">
                  <c:v>48</c:v>
                </c:pt>
                <c:pt idx="174">
                  <c:v>47</c:v>
                </c:pt>
                <c:pt idx="175">
                  <c:v>48</c:v>
                </c:pt>
                <c:pt idx="176">
                  <c:v>49</c:v>
                </c:pt>
                <c:pt idx="177">
                  <c:v>50</c:v>
                </c:pt>
                <c:pt idx="178">
                  <c:v>52</c:v>
                </c:pt>
                <c:pt idx="179">
                  <c:v>53</c:v>
                </c:pt>
                <c:pt idx="180">
                  <c:v>54</c:v>
                </c:pt>
                <c:pt idx="181">
                  <c:v>56</c:v>
                </c:pt>
                <c:pt idx="182">
                  <c:v>57</c:v>
                </c:pt>
                <c:pt idx="183">
                  <c:v>58</c:v>
                </c:pt>
                <c:pt idx="184">
                  <c:v>60</c:v>
                </c:pt>
                <c:pt idx="185">
                  <c:v>61</c:v>
                </c:pt>
                <c:pt idx="186">
                  <c:v>62</c:v>
                </c:pt>
                <c:pt idx="187">
                  <c:v>64</c:v>
                </c:pt>
                <c:pt idx="188">
                  <c:v>65</c:v>
                </c:pt>
                <c:pt idx="189">
                  <c:v>67</c:v>
                </c:pt>
                <c:pt idx="190">
                  <c:v>68</c:v>
                </c:pt>
                <c:pt idx="191">
                  <c:v>70</c:v>
                </c:pt>
                <c:pt idx="192">
                  <c:v>71</c:v>
                </c:pt>
                <c:pt idx="193">
                  <c:v>73</c:v>
                </c:pt>
                <c:pt idx="194">
                  <c:v>74</c:v>
                </c:pt>
                <c:pt idx="195">
                  <c:v>76</c:v>
                </c:pt>
                <c:pt idx="196">
                  <c:v>77</c:v>
                </c:pt>
                <c:pt idx="197">
                  <c:v>78</c:v>
                </c:pt>
                <c:pt idx="198">
                  <c:v>80</c:v>
                </c:pt>
                <c:pt idx="199">
                  <c:v>81</c:v>
                </c:pt>
                <c:pt idx="200">
                  <c:v>82</c:v>
                </c:pt>
                <c:pt idx="201">
                  <c:v>83</c:v>
                </c:pt>
                <c:pt idx="202">
                  <c:v>83</c:v>
                </c:pt>
                <c:pt idx="203">
                  <c:v>84</c:v>
                </c:pt>
                <c:pt idx="204">
                  <c:v>85</c:v>
                </c:pt>
                <c:pt idx="205">
                  <c:v>85</c:v>
                </c:pt>
                <c:pt idx="206">
                  <c:v>85</c:v>
                </c:pt>
                <c:pt idx="207">
                  <c:v>86</c:v>
                </c:pt>
                <c:pt idx="208">
                  <c:v>86</c:v>
                </c:pt>
                <c:pt idx="209">
                  <c:v>85</c:v>
                </c:pt>
                <c:pt idx="210">
                  <c:v>85</c:v>
                </c:pt>
                <c:pt idx="211">
                  <c:v>85</c:v>
                </c:pt>
                <c:pt idx="212">
                  <c:v>84</c:v>
                </c:pt>
                <c:pt idx="213">
                  <c:v>84</c:v>
                </c:pt>
                <c:pt idx="214">
                  <c:v>83</c:v>
                </c:pt>
                <c:pt idx="215">
                  <c:v>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EFF-4CA0-813B-4825C82D03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EFF-4CA0-813B-4825C82D03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39</c:v>
                </c:pt>
                <c:pt idx="1">
                  <c:v>236</c:v>
                </c:pt>
                <c:pt idx="2">
                  <c:v>214</c:v>
                </c:pt>
                <c:pt idx="3">
                  <c:v>225</c:v>
                </c:pt>
                <c:pt idx="4">
                  <c:v>223</c:v>
                </c:pt>
                <c:pt idx="5">
                  <c:v>91</c:v>
                </c:pt>
                <c:pt idx="6">
                  <c:v>164</c:v>
                </c:pt>
                <c:pt idx="7">
                  <c:v>362</c:v>
                </c:pt>
                <c:pt idx="8">
                  <c:v>349</c:v>
                </c:pt>
                <c:pt idx="9">
                  <c:v>383</c:v>
                </c:pt>
                <c:pt idx="10">
                  <c:v>298</c:v>
                </c:pt>
                <c:pt idx="11">
                  <c:v>213</c:v>
                </c:pt>
                <c:pt idx="12">
                  <c:v>140</c:v>
                </c:pt>
                <c:pt idx="13">
                  <c:v>354</c:v>
                </c:pt>
                <c:pt idx="14">
                  <c:v>377</c:v>
                </c:pt>
                <c:pt idx="15">
                  <c:v>472</c:v>
                </c:pt>
                <c:pt idx="16">
                  <c:v>439</c:v>
                </c:pt>
                <c:pt idx="17">
                  <c:v>370</c:v>
                </c:pt>
                <c:pt idx="18">
                  <c:v>375</c:v>
                </c:pt>
                <c:pt idx="19">
                  <c:v>287</c:v>
                </c:pt>
                <c:pt idx="20">
                  <c:v>472</c:v>
                </c:pt>
                <c:pt idx="21">
                  <c:v>654</c:v>
                </c:pt>
                <c:pt idx="22">
                  <c:v>992</c:v>
                </c:pt>
                <c:pt idx="23">
                  <c:v>260</c:v>
                </c:pt>
                <c:pt idx="24">
                  <c:v>135</c:v>
                </c:pt>
                <c:pt idx="25">
                  <c:v>227</c:v>
                </c:pt>
                <c:pt idx="26">
                  <c:v>314</c:v>
                </c:pt>
                <c:pt idx="27">
                  <c:v>979</c:v>
                </c:pt>
                <c:pt idx="28">
                  <c:v>966</c:v>
                </c:pt>
                <c:pt idx="29">
                  <c:v>1165</c:v>
                </c:pt>
                <c:pt idx="30">
                  <c:v>788</c:v>
                </c:pt>
                <c:pt idx="31">
                  <c:v>439</c:v>
                </c:pt>
                <c:pt idx="32">
                  <c:v>388</c:v>
                </c:pt>
                <c:pt idx="33">
                  <c:v>639</c:v>
                </c:pt>
                <c:pt idx="34">
                  <c:v>1063</c:v>
                </c:pt>
                <c:pt idx="35">
                  <c:v>958</c:v>
                </c:pt>
                <c:pt idx="36">
                  <c:v>1546</c:v>
                </c:pt>
                <c:pt idx="37">
                  <c:v>1099</c:v>
                </c:pt>
                <c:pt idx="38">
                  <c:v>830</c:v>
                </c:pt>
                <c:pt idx="39">
                  <c:v>751</c:v>
                </c:pt>
                <c:pt idx="40">
                  <c:v>714</c:v>
                </c:pt>
                <c:pt idx="41">
                  <c:v>1016</c:v>
                </c:pt>
                <c:pt idx="42">
                  <c:v>581</c:v>
                </c:pt>
                <c:pt idx="43">
                  <c:v>879</c:v>
                </c:pt>
                <c:pt idx="44">
                  <c:v>844</c:v>
                </c:pt>
                <c:pt idx="45">
                  <c:v>658</c:v>
                </c:pt>
                <c:pt idx="46">
                  <c:v>582</c:v>
                </c:pt>
                <c:pt idx="47">
                  <c:v>351</c:v>
                </c:pt>
                <c:pt idx="48">
                  <c:v>891</c:v>
                </c:pt>
                <c:pt idx="49">
                  <c:v>883</c:v>
                </c:pt>
                <c:pt idx="50">
                  <c:v>889</c:v>
                </c:pt>
                <c:pt idx="51">
                  <c:v>803</c:v>
                </c:pt>
                <c:pt idx="52">
                  <c:v>780</c:v>
                </c:pt>
                <c:pt idx="53">
                  <c:v>704</c:v>
                </c:pt>
                <c:pt idx="54">
                  <c:v>384</c:v>
                </c:pt>
                <c:pt idx="55">
                  <c:v>638</c:v>
                </c:pt>
                <c:pt idx="56">
                  <c:v>956</c:v>
                </c:pt>
                <c:pt idx="57">
                  <c:v>820</c:v>
                </c:pt>
                <c:pt idx="58">
                  <c:v>1013</c:v>
                </c:pt>
                <c:pt idx="59">
                  <c:v>792</c:v>
                </c:pt>
                <c:pt idx="60">
                  <c:v>611</c:v>
                </c:pt>
                <c:pt idx="61">
                  <c:v>535</c:v>
                </c:pt>
                <c:pt idx="62">
                  <c:v>517</c:v>
                </c:pt>
                <c:pt idx="63">
                  <c:v>882</c:v>
                </c:pt>
                <c:pt idx="64">
                  <c:v>1285</c:v>
                </c:pt>
                <c:pt idx="65">
                  <c:v>928</c:v>
                </c:pt>
                <c:pt idx="66">
                  <c:v>814</c:v>
                </c:pt>
                <c:pt idx="67">
                  <c:v>552</c:v>
                </c:pt>
                <c:pt idx="68">
                  <c:v>506</c:v>
                </c:pt>
                <c:pt idx="69">
                  <c:v>713</c:v>
                </c:pt>
                <c:pt idx="70">
                  <c:v>998</c:v>
                </c:pt>
                <c:pt idx="71">
                  <c:v>1038</c:v>
                </c:pt>
                <c:pt idx="72">
                  <c:v>980</c:v>
                </c:pt>
                <c:pt idx="73">
                  <c:v>680</c:v>
                </c:pt>
                <c:pt idx="74">
                  <c:v>682</c:v>
                </c:pt>
                <c:pt idx="75">
                  <c:v>406</c:v>
                </c:pt>
                <c:pt idx="76">
                  <c:v>866</c:v>
                </c:pt>
                <c:pt idx="77">
                  <c:v>982</c:v>
                </c:pt>
                <c:pt idx="78">
                  <c:v>778</c:v>
                </c:pt>
                <c:pt idx="79">
                  <c:v>1171</c:v>
                </c:pt>
                <c:pt idx="80">
                  <c:v>863</c:v>
                </c:pt>
                <c:pt idx="81">
                  <c:v>690</c:v>
                </c:pt>
                <c:pt idx="82">
                  <c:v>436</c:v>
                </c:pt>
                <c:pt idx="83">
                  <c:v>1045</c:v>
                </c:pt>
                <c:pt idx="84">
                  <c:v>928</c:v>
                </c:pt>
                <c:pt idx="85">
                  <c:v>1161</c:v>
                </c:pt>
                <c:pt idx="86">
                  <c:v>827</c:v>
                </c:pt>
                <c:pt idx="87">
                  <c:v>1014</c:v>
                </c:pt>
                <c:pt idx="88">
                  <c:v>496</c:v>
                </c:pt>
                <c:pt idx="89">
                  <c:v>645</c:v>
                </c:pt>
                <c:pt idx="90">
                  <c:v>763</c:v>
                </c:pt>
                <c:pt idx="91">
                  <c:v>952</c:v>
                </c:pt>
                <c:pt idx="92">
                  <c:v>845</c:v>
                </c:pt>
                <c:pt idx="93">
                  <c:v>805</c:v>
                </c:pt>
                <c:pt idx="94">
                  <c:v>763</c:v>
                </c:pt>
                <c:pt idx="95">
                  <c:v>593</c:v>
                </c:pt>
                <c:pt idx="96">
                  <c:v>377</c:v>
                </c:pt>
                <c:pt idx="97">
                  <c:v>513</c:v>
                </c:pt>
                <c:pt idx="98">
                  <c:v>675</c:v>
                </c:pt>
                <c:pt idx="99">
                  <c:v>682</c:v>
                </c:pt>
                <c:pt idx="100">
                  <c:v>524</c:v>
                </c:pt>
                <c:pt idx="101">
                  <c:v>783</c:v>
                </c:pt>
                <c:pt idx="102">
                  <c:v>278</c:v>
                </c:pt>
                <c:pt idx="103">
                  <c:v>211</c:v>
                </c:pt>
                <c:pt idx="104">
                  <c:v>533</c:v>
                </c:pt>
                <c:pt idx="105">
                  <c:v>496</c:v>
                </c:pt>
                <c:pt idx="106">
                  <c:v>448</c:v>
                </c:pt>
                <c:pt idx="107">
                  <c:v>381</c:v>
                </c:pt>
                <c:pt idx="108">
                  <c:v>346</c:v>
                </c:pt>
                <c:pt idx="109">
                  <c:v>229</c:v>
                </c:pt>
                <c:pt idx="110">
                  <c:v>139</c:v>
                </c:pt>
                <c:pt idx="111">
                  <c:v>313</c:v>
                </c:pt>
                <c:pt idx="112">
                  <c:v>365</c:v>
                </c:pt>
                <c:pt idx="113">
                  <c:v>269</c:v>
                </c:pt>
                <c:pt idx="114">
                  <c:v>232</c:v>
                </c:pt>
                <c:pt idx="115">
                  <c:v>241</c:v>
                </c:pt>
                <c:pt idx="116">
                  <c:v>140</c:v>
                </c:pt>
                <c:pt idx="117">
                  <c:v>83</c:v>
                </c:pt>
                <c:pt idx="118">
                  <c:v>253</c:v>
                </c:pt>
                <c:pt idx="119">
                  <c:v>221</c:v>
                </c:pt>
                <c:pt idx="120">
                  <c:v>172</c:v>
                </c:pt>
                <c:pt idx="121">
                  <c:v>147</c:v>
                </c:pt>
                <c:pt idx="122">
                  <c:v>94</c:v>
                </c:pt>
                <c:pt idx="123">
                  <c:v>76</c:v>
                </c:pt>
                <c:pt idx="124">
                  <c:v>64</c:v>
                </c:pt>
                <c:pt idx="125">
                  <c:v>77</c:v>
                </c:pt>
                <c:pt idx="126">
                  <c:v>130</c:v>
                </c:pt>
                <c:pt idx="127">
                  <c:v>137</c:v>
                </c:pt>
                <c:pt idx="128">
                  <c:v>129</c:v>
                </c:pt>
                <c:pt idx="129">
                  <c:v>80</c:v>
                </c:pt>
                <c:pt idx="130">
                  <c:v>58</c:v>
                </c:pt>
                <c:pt idx="131">
                  <c:v>59</c:v>
                </c:pt>
                <c:pt idx="132">
                  <c:v>48</c:v>
                </c:pt>
                <c:pt idx="133">
                  <c:v>109</c:v>
                </c:pt>
                <c:pt idx="134">
                  <c:v>90</c:v>
                </c:pt>
                <c:pt idx="135">
                  <c:v>66</c:v>
                </c:pt>
                <c:pt idx="136">
                  <c:v>47</c:v>
                </c:pt>
                <c:pt idx="137">
                  <c:v>40</c:v>
                </c:pt>
                <c:pt idx="138">
                  <c:v>44</c:v>
                </c:pt>
                <c:pt idx="139">
                  <c:v>40</c:v>
                </c:pt>
                <c:pt idx="140">
                  <c:v>70</c:v>
                </c:pt>
                <c:pt idx="141">
                  <c:v>49</c:v>
                </c:pt>
                <c:pt idx="142">
                  <c:v>40</c:v>
                </c:pt>
                <c:pt idx="143">
                  <c:v>38</c:v>
                </c:pt>
                <c:pt idx="144">
                  <c:v>38</c:v>
                </c:pt>
                <c:pt idx="145">
                  <c:v>22</c:v>
                </c:pt>
                <c:pt idx="146">
                  <c:v>58</c:v>
                </c:pt>
                <c:pt idx="147">
                  <c:v>44</c:v>
                </c:pt>
                <c:pt idx="148">
                  <c:v>53</c:v>
                </c:pt>
                <c:pt idx="149">
                  <c:v>61</c:v>
                </c:pt>
                <c:pt idx="150">
                  <c:v>36</c:v>
                </c:pt>
                <c:pt idx="151">
                  <c:v>40</c:v>
                </c:pt>
                <c:pt idx="152">
                  <c:v>15</c:v>
                </c:pt>
                <c:pt idx="153">
                  <c:v>27</c:v>
                </c:pt>
                <c:pt idx="154">
                  <c:v>40</c:v>
                </c:pt>
                <c:pt idx="155">
                  <c:v>43</c:v>
                </c:pt>
                <c:pt idx="156">
                  <c:v>25</c:v>
                </c:pt>
                <c:pt idx="157">
                  <c:v>40</c:v>
                </c:pt>
                <c:pt idx="158">
                  <c:v>10</c:v>
                </c:pt>
                <c:pt idx="159">
                  <c:v>22</c:v>
                </c:pt>
                <c:pt idx="160">
                  <c:v>16</c:v>
                </c:pt>
                <c:pt idx="161">
                  <c:v>26</c:v>
                </c:pt>
                <c:pt idx="162">
                  <c:v>29</c:v>
                </c:pt>
                <c:pt idx="163">
                  <c:v>33</c:v>
                </c:pt>
                <c:pt idx="164">
                  <c:v>22</c:v>
                </c:pt>
                <c:pt idx="165">
                  <c:v>10</c:v>
                </c:pt>
                <c:pt idx="166">
                  <c:v>16</c:v>
                </c:pt>
                <c:pt idx="167">
                  <c:v>25</c:v>
                </c:pt>
                <c:pt idx="168">
                  <c:v>28</c:v>
                </c:pt>
                <c:pt idx="169">
                  <c:v>8</c:v>
                </c:pt>
                <c:pt idx="170">
                  <c:v>19</c:v>
                </c:pt>
                <c:pt idx="171">
                  <c:v>11</c:v>
                </c:pt>
                <c:pt idx="172">
                  <c:v>10</c:v>
                </c:pt>
                <c:pt idx="173">
                  <c:v>9</c:v>
                </c:pt>
                <c:pt idx="174">
                  <c:v>9</c:v>
                </c:pt>
                <c:pt idx="175">
                  <c:v>12</c:v>
                </c:pt>
                <c:pt idx="176">
                  <c:v>13</c:v>
                </c:pt>
                <c:pt idx="177">
                  <c:v>9</c:v>
                </c:pt>
                <c:pt idx="178">
                  <c:v>14</c:v>
                </c:pt>
                <c:pt idx="179">
                  <c:v>1</c:v>
                </c:pt>
                <c:pt idx="18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AF-426F-9F60-52AAC7525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8AF-426F-9F60-52AAC7525A99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878</c:v>
                </c:pt>
                <c:pt idx="89">
                  <c:v>893</c:v>
                </c:pt>
                <c:pt idx="90">
                  <c:v>906</c:v>
                </c:pt>
                <c:pt idx="91">
                  <c:v>918</c:v>
                </c:pt>
                <c:pt idx="92">
                  <c:v>928</c:v>
                </c:pt>
                <c:pt idx="93">
                  <c:v>938</c:v>
                </c:pt>
                <c:pt idx="94">
                  <c:v>947</c:v>
                </c:pt>
                <c:pt idx="95">
                  <c:v>955</c:v>
                </c:pt>
                <c:pt idx="96">
                  <c:v>963</c:v>
                </c:pt>
                <c:pt idx="97">
                  <c:v>970</c:v>
                </c:pt>
                <c:pt idx="98">
                  <c:v>977</c:v>
                </c:pt>
                <c:pt idx="99">
                  <c:v>983</c:v>
                </c:pt>
                <c:pt idx="100">
                  <c:v>989</c:v>
                </c:pt>
                <c:pt idx="101">
                  <c:v>994</c:v>
                </c:pt>
                <c:pt idx="102">
                  <c:v>999</c:v>
                </c:pt>
                <c:pt idx="103">
                  <c:v>1004</c:v>
                </c:pt>
                <c:pt idx="104">
                  <c:v>1008</c:v>
                </c:pt>
                <c:pt idx="105">
                  <c:v>1011</c:v>
                </c:pt>
                <c:pt idx="106">
                  <c:v>1014</c:v>
                </c:pt>
                <c:pt idx="107">
                  <c:v>1017</c:v>
                </c:pt>
                <c:pt idx="108">
                  <c:v>1019</c:v>
                </c:pt>
                <c:pt idx="109">
                  <c:v>1021</c:v>
                </c:pt>
                <c:pt idx="110">
                  <c:v>1023</c:v>
                </c:pt>
                <c:pt idx="111">
                  <c:v>1024</c:v>
                </c:pt>
                <c:pt idx="112">
                  <c:v>1024</c:v>
                </c:pt>
                <c:pt idx="113">
                  <c:v>1024</c:v>
                </c:pt>
                <c:pt idx="114">
                  <c:v>1024</c:v>
                </c:pt>
                <c:pt idx="115">
                  <c:v>1024</c:v>
                </c:pt>
                <c:pt idx="116">
                  <c:v>1023</c:v>
                </c:pt>
                <c:pt idx="117">
                  <c:v>1021</c:v>
                </c:pt>
                <c:pt idx="118">
                  <c:v>1020</c:v>
                </c:pt>
                <c:pt idx="119">
                  <c:v>1017</c:v>
                </c:pt>
                <c:pt idx="120">
                  <c:v>1015</c:v>
                </c:pt>
                <c:pt idx="121">
                  <c:v>1012</c:v>
                </c:pt>
                <c:pt idx="122">
                  <c:v>1009</c:v>
                </c:pt>
                <c:pt idx="123">
                  <c:v>1005</c:v>
                </c:pt>
                <c:pt idx="124">
                  <c:v>1001</c:v>
                </c:pt>
                <c:pt idx="125">
                  <c:v>997</c:v>
                </c:pt>
                <c:pt idx="126">
                  <c:v>992</c:v>
                </c:pt>
                <c:pt idx="127">
                  <c:v>987</c:v>
                </c:pt>
                <c:pt idx="128">
                  <c:v>982</c:v>
                </c:pt>
                <c:pt idx="129">
                  <c:v>976</c:v>
                </c:pt>
                <c:pt idx="130">
                  <c:v>970</c:v>
                </c:pt>
                <c:pt idx="131">
                  <c:v>964</c:v>
                </c:pt>
                <c:pt idx="132">
                  <c:v>957</c:v>
                </c:pt>
                <c:pt idx="133">
                  <c:v>951</c:v>
                </c:pt>
                <c:pt idx="134">
                  <c:v>943</c:v>
                </c:pt>
                <c:pt idx="135">
                  <c:v>936</c:v>
                </c:pt>
                <c:pt idx="136">
                  <c:v>928</c:v>
                </c:pt>
                <c:pt idx="137">
                  <c:v>920</c:v>
                </c:pt>
                <c:pt idx="138">
                  <c:v>912</c:v>
                </c:pt>
                <c:pt idx="139">
                  <c:v>904</c:v>
                </c:pt>
                <c:pt idx="140">
                  <c:v>895</c:v>
                </c:pt>
                <c:pt idx="141">
                  <c:v>887</c:v>
                </c:pt>
                <c:pt idx="142">
                  <c:v>878</c:v>
                </c:pt>
                <c:pt idx="143">
                  <c:v>869</c:v>
                </c:pt>
                <c:pt idx="144">
                  <c:v>859</c:v>
                </c:pt>
                <c:pt idx="145">
                  <c:v>850</c:v>
                </c:pt>
                <c:pt idx="146">
                  <c:v>840</c:v>
                </c:pt>
                <c:pt idx="147">
                  <c:v>830</c:v>
                </c:pt>
                <c:pt idx="148">
                  <c:v>821</c:v>
                </c:pt>
                <c:pt idx="149">
                  <c:v>810</c:v>
                </c:pt>
                <c:pt idx="150">
                  <c:v>800</c:v>
                </c:pt>
                <c:pt idx="151">
                  <c:v>790</c:v>
                </c:pt>
                <c:pt idx="152">
                  <c:v>780</c:v>
                </c:pt>
                <c:pt idx="153">
                  <c:v>769</c:v>
                </c:pt>
                <c:pt idx="154">
                  <c:v>759</c:v>
                </c:pt>
                <c:pt idx="155">
                  <c:v>748</c:v>
                </c:pt>
                <c:pt idx="156">
                  <c:v>738</c:v>
                </c:pt>
                <c:pt idx="157">
                  <c:v>727</c:v>
                </c:pt>
                <c:pt idx="158">
                  <c:v>717</c:v>
                </c:pt>
                <c:pt idx="159">
                  <c:v>706</c:v>
                </c:pt>
                <c:pt idx="160">
                  <c:v>695</c:v>
                </c:pt>
                <c:pt idx="161">
                  <c:v>684</c:v>
                </c:pt>
                <c:pt idx="162">
                  <c:v>674</c:v>
                </c:pt>
                <c:pt idx="163">
                  <c:v>663</c:v>
                </c:pt>
                <c:pt idx="164">
                  <c:v>652</c:v>
                </c:pt>
                <c:pt idx="165">
                  <c:v>642</c:v>
                </c:pt>
                <c:pt idx="166">
                  <c:v>631</c:v>
                </c:pt>
                <c:pt idx="167">
                  <c:v>620</c:v>
                </c:pt>
                <c:pt idx="168">
                  <c:v>610</c:v>
                </c:pt>
                <c:pt idx="169">
                  <c:v>599</c:v>
                </c:pt>
                <c:pt idx="170">
                  <c:v>589</c:v>
                </c:pt>
                <c:pt idx="171">
                  <c:v>579</c:v>
                </c:pt>
                <c:pt idx="172">
                  <c:v>568</c:v>
                </c:pt>
                <c:pt idx="173">
                  <c:v>558</c:v>
                </c:pt>
                <c:pt idx="174">
                  <c:v>548</c:v>
                </c:pt>
                <c:pt idx="175">
                  <c:v>538</c:v>
                </c:pt>
                <c:pt idx="176">
                  <c:v>528</c:v>
                </c:pt>
                <c:pt idx="177">
                  <c:v>518</c:v>
                </c:pt>
                <c:pt idx="178">
                  <c:v>508</c:v>
                </c:pt>
                <c:pt idx="179">
                  <c:v>498</c:v>
                </c:pt>
                <c:pt idx="180">
                  <c:v>489</c:v>
                </c:pt>
                <c:pt idx="181">
                  <c:v>4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8AF-426F-9F60-52AAC7525A99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869</c:v>
                </c:pt>
                <c:pt idx="89">
                  <c:v>871</c:v>
                </c:pt>
                <c:pt idx="90">
                  <c:v>868</c:v>
                </c:pt>
                <c:pt idx="91">
                  <c:v>862</c:v>
                </c:pt>
                <c:pt idx="92">
                  <c:v>854</c:v>
                </c:pt>
                <c:pt idx="93">
                  <c:v>846</c:v>
                </c:pt>
                <c:pt idx="94">
                  <c:v>836</c:v>
                </c:pt>
                <c:pt idx="95">
                  <c:v>826</c:v>
                </c:pt>
                <c:pt idx="96">
                  <c:v>816</c:v>
                </c:pt>
                <c:pt idx="97">
                  <c:v>805</c:v>
                </c:pt>
                <c:pt idx="98">
                  <c:v>793</c:v>
                </c:pt>
                <c:pt idx="99">
                  <c:v>782</c:v>
                </c:pt>
                <c:pt idx="100">
                  <c:v>770</c:v>
                </c:pt>
                <c:pt idx="101">
                  <c:v>758</c:v>
                </c:pt>
                <c:pt idx="102">
                  <c:v>746</c:v>
                </c:pt>
                <c:pt idx="103">
                  <c:v>734</c:v>
                </c:pt>
                <c:pt idx="104">
                  <c:v>722</c:v>
                </c:pt>
                <c:pt idx="105">
                  <c:v>709</c:v>
                </c:pt>
                <c:pt idx="106">
                  <c:v>697</c:v>
                </c:pt>
                <c:pt idx="107">
                  <c:v>685</c:v>
                </c:pt>
                <c:pt idx="108">
                  <c:v>672</c:v>
                </c:pt>
                <c:pt idx="109">
                  <c:v>660</c:v>
                </c:pt>
                <c:pt idx="110">
                  <c:v>648</c:v>
                </c:pt>
                <c:pt idx="111">
                  <c:v>636</c:v>
                </c:pt>
                <c:pt idx="112">
                  <c:v>624</c:v>
                </c:pt>
                <c:pt idx="113">
                  <c:v>612</c:v>
                </c:pt>
                <c:pt idx="114">
                  <c:v>600</c:v>
                </c:pt>
                <c:pt idx="115">
                  <c:v>588</c:v>
                </c:pt>
                <c:pt idx="116">
                  <c:v>576</c:v>
                </c:pt>
                <c:pt idx="117">
                  <c:v>564</c:v>
                </c:pt>
                <c:pt idx="118">
                  <c:v>553</c:v>
                </c:pt>
                <c:pt idx="119">
                  <c:v>542</c:v>
                </c:pt>
                <c:pt idx="120">
                  <c:v>530</c:v>
                </c:pt>
                <c:pt idx="121">
                  <c:v>519</c:v>
                </c:pt>
                <c:pt idx="122">
                  <c:v>508</c:v>
                </c:pt>
                <c:pt idx="123">
                  <c:v>498</c:v>
                </c:pt>
                <c:pt idx="124">
                  <c:v>487</c:v>
                </c:pt>
                <c:pt idx="125">
                  <c:v>477</c:v>
                </c:pt>
                <c:pt idx="126">
                  <c:v>466</c:v>
                </c:pt>
                <c:pt idx="127">
                  <c:v>456</c:v>
                </c:pt>
                <c:pt idx="128">
                  <c:v>446</c:v>
                </c:pt>
                <c:pt idx="129">
                  <c:v>436</c:v>
                </c:pt>
                <c:pt idx="130">
                  <c:v>427</c:v>
                </c:pt>
                <c:pt idx="131">
                  <c:v>417</c:v>
                </c:pt>
                <c:pt idx="132">
                  <c:v>408</c:v>
                </c:pt>
                <c:pt idx="133">
                  <c:v>398</c:v>
                </c:pt>
                <c:pt idx="134">
                  <c:v>389</c:v>
                </c:pt>
                <c:pt idx="135">
                  <c:v>381</c:v>
                </c:pt>
                <c:pt idx="136">
                  <c:v>372</c:v>
                </c:pt>
                <c:pt idx="137">
                  <c:v>363</c:v>
                </c:pt>
                <c:pt idx="138">
                  <c:v>355</c:v>
                </c:pt>
                <c:pt idx="139">
                  <c:v>347</c:v>
                </c:pt>
                <c:pt idx="140">
                  <c:v>339</c:v>
                </c:pt>
                <c:pt idx="141">
                  <c:v>331</c:v>
                </c:pt>
                <c:pt idx="142">
                  <c:v>323</c:v>
                </c:pt>
                <c:pt idx="143">
                  <c:v>315</c:v>
                </c:pt>
                <c:pt idx="144">
                  <c:v>308</c:v>
                </c:pt>
                <c:pt idx="145">
                  <c:v>300</c:v>
                </c:pt>
                <c:pt idx="146">
                  <c:v>293</c:v>
                </c:pt>
                <c:pt idx="147">
                  <c:v>286</c:v>
                </c:pt>
                <c:pt idx="148">
                  <c:v>279</c:v>
                </c:pt>
                <c:pt idx="149">
                  <c:v>273</c:v>
                </c:pt>
                <c:pt idx="150">
                  <c:v>266</c:v>
                </c:pt>
                <c:pt idx="151">
                  <c:v>260</c:v>
                </c:pt>
                <c:pt idx="152">
                  <c:v>253</c:v>
                </c:pt>
                <c:pt idx="153">
                  <c:v>247</c:v>
                </c:pt>
                <c:pt idx="154">
                  <c:v>241</c:v>
                </c:pt>
                <c:pt idx="155">
                  <c:v>235</c:v>
                </c:pt>
                <c:pt idx="156">
                  <c:v>229</c:v>
                </c:pt>
                <c:pt idx="157">
                  <c:v>224</c:v>
                </c:pt>
                <c:pt idx="158">
                  <c:v>218</c:v>
                </c:pt>
                <c:pt idx="159">
                  <c:v>213</c:v>
                </c:pt>
                <c:pt idx="160">
                  <c:v>207</c:v>
                </c:pt>
                <c:pt idx="161">
                  <c:v>202</c:v>
                </c:pt>
                <c:pt idx="162">
                  <c:v>197</c:v>
                </c:pt>
                <c:pt idx="163">
                  <c:v>192</c:v>
                </c:pt>
                <c:pt idx="164">
                  <c:v>187</c:v>
                </c:pt>
                <c:pt idx="165">
                  <c:v>183</c:v>
                </c:pt>
                <c:pt idx="166">
                  <c:v>178</c:v>
                </c:pt>
                <c:pt idx="167">
                  <c:v>174</c:v>
                </c:pt>
                <c:pt idx="168">
                  <c:v>169</c:v>
                </c:pt>
                <c:pt idx="169">
                  <c:v>165</c:v>
                </c:pt>
                <c:pt idx="170">
                  <c:v>161</c:v>
                </c:pt>
                <c:pt idx="171">
                  <c:v>157</c:v>
                </c:pt>
                <c:pt idx="172">
                  <c:v>153</c:v>
                </c:pt>
                <c:pt idx="173">
                  <c:v>149</c:v>
                </c:pt>
                <c:pt idx="174">
                  <c:v>145</c:v>
                </c:pt>
                <c:pt idx="175">
                  <c:v>141</c:v>
                </c:pt>
                <c:pt idx="176">
                  <c:v>138</c:v>
                </c:pt>
                <c:pt idx="177">
                  <c:v>134</c:v>
                </c:pt>
                <c:pt idx="178">
                  <c:v>131</c:v>
                </c:pt>
                <c:pt idx="179">
                  <c:v>127</c:v>
                </c:pt>
                <c:pt idx="180">
                  <c:v>124</c:v>
                </c:pt>
                <c:pt idx="181">
                  <c:v>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AF-426F-9F60-52AAC7525A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39</c:v>
                </c:pt>
                <c:pt idx="1">
                  <c:v>236</c:v>
                </c:pt>
                <c:pt idx="2">
                  <c:v>214</c:v>
                </c:pt>
                <c:pt idx="3">
                  <c:v>225</c:v>
                </c:pt>
                <c:pt idx="4">
                  <c:v>223</c:v>
                </c:pt>
                <c:pt idx="5">
                  <c:v>91</c:v>
                </c:pt>
                <c:pt idx="6">
                  <c:v>164</c:v>
                </c:pt>
                <c:pt idx="7">
                  <c:v>362</c:v>
                </c:pt>
                <c:pt idx="8">
                  <c:v>349</c:v>
                </c:pt>
                <c:pt idx="9">
                  <c:v>383</c:v>
                </c:pt>
                <c:pt idx="10">
                  <c:v>298</c:v>
                </c:pt>
                <c:pt idx="11">
                  <c:v>213</c:v>
                </c:pt>
                <c:pt idx="12">
                  <c:v>140</c:v>
                </c:pt>
                <c:pt idx="13">
                  <c:v>354</c:v>
                </c:pt>
                <c:pt idx="14">
                  <c:v>377</c:v>
                </c:pt>
                <c:pt idx="15">
                  <c:v>472</c:v>
                </c:pt>
                <c:pt idx="16">
                  <c:v>439</c:v>
                </c:pt>
                <c:pt idx="17">
                  <c:v>370</c:v>
                </c:pt>
                <c:pt idx="18">
                  <c:v>375</c:v>
                </c:pt>
                <c:pt idx="19">
                  <c:v>287</c:v>
                </c:pt>
                <c:pt idx="20">
                  <c:v>472</c:v>
                </c:pt>
                <c:pt idx="21">
                  <c:v>654</c:v>
                </c:pt>
                <c:pt idx="22">
                  <c:v>992</c:v>
                </c:pt>
                <c:pt idx="23">
                  <c:v>260</c:v>
                </c:pt>
                <c:pt idx="24">
                  <c:v>135</c:v>
                </c:pt>
                <c:pt idx="25">
                  <c:v>227</c:v>
                </c:pt>
                <c:pt idx="26">
                  <c:v>314</c:v>
                </c:pt>
                <c:pt idx="27">
                  <c:v>979</c:v>
                </c:pt>
                <c:pt idx="28">
                  <c:v>966</c:v>
                </c:pt>
                <c:pt idx="29">
                  <c:v>1165</c:v>
                </c:pt>
                <c:pt idx="30">
                  <c:v>788</c:v>
                </c:pt>
                <c:pt idx="31">
                  <c:v>439</c:v>
                </c:pt>
                <c:pt idx="32">
                  <c:v>388</c:v>
                </c:pt>
                <c:pt idx="33">
                  <c:v>639</c:v>
                </c:pt>
                <c:pt idx="34">
                  <c:v>1063</c:v>
                </c:pt>
                <c:pt idx="35">
                  <c:v>958</c:v>
                </c:pt>
                <c:pt idx="36">
                  <c:v>1546</c:v>
                </c:pt>
                <c:pt idx="37">
                  <c:v>1099</c:v>
                </c:pt>
                <c:pt idx="38">
                  <c:v>830</c:v>
                </c:pt>
                <c:pt idx="39">
                  <c:v>751</c:v>
                </c:pt>
                <c:pt idx="40">
                  <c:v>714</c:v>
                </c:pt>
                <c:pt idx="41">
                  <c:v>1016</c:v>
                </c:pt>
                <c:pt idx="42">
                  <c:v>581</c:v>
                </c:pt>
                <c:pt idx="43">
                  <c:v>879</c:v>
                </c:pt>
                <c:pt idx="44">
                  <c:v>844</c:v>
                </c:pt>
                <c:pt idx="45">
                  <c:v>658</c:v>
                </c:pt>
                <c:pt idx="46">
                  <c:v>582</c:v>
                </c:pt>
                <c:pt idx="47">
                  <c:v>351</c:v>
                </c:pt>
                <c:pt idx="48">
                  <c:v>891</c:v>
                </c:pt>
                <c:pt idx="49">
                  <c:v>883</c:v>
                </c:pt>
                <c:pt idx="50">
                  <c:v>889</c:v>
                </c:pt>
                <c:pt idx="51">
                  <c:v>803</c:v>
                </c:pt>
                <c:pt idx="52">
                  <c:v>780</c:v>
                </c:pt>
                <c:pt idx="53">
                  <c:v>704</c:v>
                </c:pt>
                <c:pt idx="54">
                  <c:v>384</c:v>
                </c:pt>
                <c:pt idx="55">
                  <c:v>638</c:v>
                </c:pt>
                <c:pt idx="56">
                  <c:v>956</c:v>
                </c:pt>
                <c:pt idx="57">
                  <c:v>820</c:v>
                </c:pt>
                <c:pt idx="58">
                  <c:v>1013</c:v>
                </c:pt>
                <c:pt idx="59">
                  <c:v>792</c:v>
                </c:pt>
                <c:pt idx="60">
                  <c:v>611</c:v>
                </c:pt>
                <c:pt idx="61">
                  <c:v>535</c:v>
                </c:pt>
                <c:pt idx="62">
                  <c:v>517</c:v>
                </c:pt>
                <c:pt idx="63">
                  <c:v>882</c:v>
                </c:pt>
                <c:pt idx="64">
                  <c:v>1285</c:v>
                </c:pt>
                <c:pt idx="65">
                  <c:v>928</c:v>
                </c:pt>
                <c:pt idx="66">
                  <c:v>814</c:v>
                </c:pt>
                <c:pt idx="67">
                  <c:v>552</c:v>
                </c:pt>
                <c:pt idx="68">
                  <c:v>506</c:v>
                </c:pt>
                <c:pt idx="69">
                  <c:v>713</c:v>
                </c:pt>
                <c:pt idx="70">
                  <c:v>998</c:v>
                </c:pt>
                <c:pt idx="71">
                  <c:v>1038</c:v>
                </c:pt>
                <c:pt idx="72">
                  <c:v>980</c:v>
                </c:pt>
                <c:pt idx="73">
                  <c:v>680</c:v>
                </c:pt>
                <c:pt idx="74">
                  <c:v>682</c:v>
                </c:pt>
                <c:pt idx="75">
                  <c:v>406</c:v>
                </c:pt>
                <c:pt idx="76">
                  <c:v>866</c:v>
                </c:pt>
                <c:pt idx="77">
                  <c:v>982</c:v>
                </c:pt>
                <c:pt idx="78">
                  <c:v>778</c:v>
                </c:pt>
                <c:pt idx="79">
                  <c:v>1171</c:v>
                </c:pt>
                <c:pt idx="80">
                  <c:v>863</c:v>
                </c:pt>
                <c:pt idx="81">
                  <c:v>690</c:v>
                </c:pt>
                <c:pt idx="82">
                  <c:v>436</c:v>
                </c:pt>
                <c:pt idx="83">
                  <c:v>1045</c:v>
                </c:pt>
                <c:pt idx="84">
                  <c:v>928</c:v>
                </c:pt>
                <c:pt idx="85">
                  <c:v>1161</c:v>
                </c:pt>
                <c:pt idx="86">
                  <c:v>827</c:v>
                </c:pt>
                <c:pt idx="87">
                  <c:v>1014</c:v>
                </c:pt>
                <c:pt idx="88">
                  <c:v>496</c:v>
                </c:pt>
                <c:pt idx="89">
                  <c:v>645</c:v>
                </c:pt>
                <c:pt idx="90">
                  <c:v>763</c:v>
                </c:pt>
                <c:pt idx="91">
                  <c:v>952</c:v>
                </c:pt>
                <c:pt idx="92">
                  <c:v>845</c:v>
                </c:pt>
                <c:pt idx="93">
                  <c:v>805</c:v>
                </c:pt>
                <c:pt idx="94">
                  <c:v>763</c:v>
                </c:pt>
                <c:pt idx="95">
                  <c:v>593</c:v>
                </c:pt>
                <c:pt idx="96">
                  <c:v>377</c:v>
                </c:pt>
                <c:pt idx="97">
                  <c:v>513</c:v>
                </c:pt>
                <c:pt idx="98">
                  <c:v>675</c:v>
                </c:pt>
                <c:pt idx="99">
                  <c:v>682</c:v>
                </c:pt>
                <c:pt idx="100">
                  <c:v>524</c:v>
                </c:pt>
                <c:pt idx="101">
                  <c:v>783</c:v>
                </c:pt>
                <c:pt idx="102">
                  <c:v>278</c:v>
                </c:pt>
                <c:pt idx="103">
                  <c:v>211</c:v>
                </c:pt>
                <c:pt idx="104">
                  <c:v>533</c:v>
                </c:pt>
                <c:pt idx="105">
                  <c:v>496</c:v>
                </c:pt>
                <c:pt idx="106">
                  <c:v>448</c:v>
                </c:pt>
                <c:pt idx="107">
                  <c:v>381</c:v>
                </c:pt>
                <c:pt idx="108">
                  <c:v>346</c:v>
                </c:pt>
                <c:pt idx="109">
                  <c:v>229</c:v>
                </c:pt>
                <c:pt idx="110">
                  <c:v>139</c:v>
                </c:pt>
                <c:pt idx="111">
                  <c:v>313</c:v>
                </c:pt>
                <c:pt idx="112">
                  <c:v>365</c:v>
                </c:pt>
                <c:pt idx="113">
                  <c:v>269</c:v>
                </c:pt>
                <c:pt idx="114">
                  <c:v>232</c:v>
                </c:pt>
                <c:pt idx="115">
                  <c:v>241</c:v>
                </c:pt>
                <c:pt idx="116">
                  <c:v>140</c:v>
                </c:pt>
                <c:pt idx="117">
                  <c:v>83</c:v>
                </c:pt>
                <c:pt idx="118">
                  <c:v>253</c:v>
                </c:pt>
                <c:pt idx="119">
                  <c:v>221</c:v>
                </c:pt>
                <c:pt idx="120">
                  <c:v>172</c:v>
                </c:pt>
                <c:pt idx="121">
                  <c:v>147</c:v>
                </c:pt>
                <c:pt idx="122">
                  <c:v>94</c:v>
                </c:pt>
                <c:pt idx="123">
                  <c:v>76</c:v>
                </c:pt>
                <c:pt idx="124">
                  <c:v>64</c:v>
                </c:pt>
                <c:pt idx="125">
                  <c:v>77</c:v>
                </c:pt>
                <c:pt idx="126">
                  <c:v>130</c:v>
                </c:pt>
                <c:pt idx="127">
                  <c:v>137</c:v>
                </c:pt>
                <c:pt idx="128">
                  <c:v>129</c:v>
                </c:pt>
                <c:pt idx="129">
                  <c:v>80</c:v>
                </c:pt>
                <c:pt idx="130">
                  <c:v>58</c:v>
                </c:pt>
                <c:pt idx="131">
                  <c:v>59</c:v>
                </c:pt>
                <c:pt idx="132">
                  <c:v>48</c:v>
                </c:pt>
                <c:pt idx="133">
                  <c:v>109</c:v>
                </c:pt>
                <c:pt idx="134">
                  <c:v>90</c:v>
                </c:pt>
                <c:pt idx="135">
                  <c:v>66</c:v>
                </c:pt>
                <c:pt idx="136">
                  <c:v>47</c:v>
                </c:pt>
                <c:pt idx="137">
                  <c:v>40</c:v>
                </c:pt>
                <c:pt idx="138">
                  <c:v>44</c:v>
                </c:pt>
                <c:pt idx="139">
                  <c:v>40</c:v>
                </c:pt>
                <c:pt idx="140">
                  <c:v>70</c:v>
                </c:pt>
                <c:pt idx="141">
                  <c:v>49</c:v>
                </c:pt>
                <c:pt idx="142">
                  <c:v>40</c:v>
                </c:pt>
                <c:pt idx="143">
                  <c:v>38</c:v>
                </c:pt>
                <c:pt idx="144">
                  <c:v>38</c:v>
                </c:pt>
                <c:pt idx="145">
                  <c:v>22</c:v>
                </c:pt>
                <c:pt idx="146">
                  <c:v>58</c:v>
                </c:pt>
                <c:pt idx="147">
                  <c:v>44</c:v>
                </c:pt>
                <c:pt idx="148">
                  <c:v>53</c:v>
                </c:pt>
                <c:pt idx="149">
                  <c:v>61</c:v>
                </c:pt>
                <c:pt idx="150">
                  <c:v>36</c:v>
                </c:pt>
                <c:pt idx="151">
                  <c:v>40</c:v>
                </c:pt>
                <c:pt idx="152">
                  <c:v>15</c:v>
                </c:pt>
                <c:pt idx="153">
                  <c:v>27</c:v>
                </c:pt>
                <c:pt idx="154">
                  <c:v>40</c:v>
                </c:pt>
                <c:pt idx="155">
                  <c:v>43</c:v>
                </c:pt>
                <c:pt idx="156">
                  <c:v>25</c:v>
                </c:pt>
                <c:pt idx="157">
                  <c:v>40</c:v>
                </c:pt>
                <c:pt idx="158">
                  <c:v>10</c:v>
                </c:pt>
                <c:pt idx="159">
                  <c:v>22</c:v>
                </c:pt>
                <c:pt idx="160">
                  <c:v>16</c:v>
                </c:pt>
                <c:pt idx="161">
                  <c:v>26</c:v>
                </c:pt>
                <c:pt idx="162">
                  <c:v>29</c:v>
                </c:pt>
                <c:pt idx="163">
                  <c:v>33</c:v>
                </c:pt>
                <c:pt idx="164">
                  <c:v>22</c:v>
                </c:pt>
                <c:pt idx="165">
                  <c:v>10</c:v>
                </c:pt>
                <c:pt idx="166">
                  <c:v>16</c:v>
                </c:pt>
                <c:pt idx="167">
                  <c:v>25</c:v>
                </c:pt>
                <c:pt idx="168">
                  <c:v>28</c:v>
                </c:pt>
                <c:pt idx="169">
                  <c:v>8</c:v>
                </c:pt>
                <c:pt idx="170">
                  <c:v>19</c:v>
                </c:pt>
                <c:pt idx="171">
                  <c:v>11</c:v>
                </c:pt>
                <c:pt idx="172">
                  <c:v>10</c:v>
                </c:pt>
                <c:pt idx="173">
                  <c:v>9</c:v>
                </c:pt>
                <c:pt idx="174">
                  <c:v>9</c:v>
                </c:pt>
                <c:pt idx="175">
                  <c:v>12</c:v>
                </c:pt>
                <c:pt idx="176">
                  <c:v>13</c:v>
                </c:pt>
                <c:pt idx="177">
                  <c:v>9</c:v>
                </c:pt>
                <c:pt idx="178">
                  <c:v>14</c:v>
                </c:pt>
                <c:pt idx="179">
                  <c:v>1</c:v>
                </c:pt>
                <c:pt idx="18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793</c:v>
                </c:pt>
                <c:pt idx="89">
                  <c:v>793</c:v>
                </c:pt>
                <c:pt idx="90">
                  <c:v>788</c:v>
                </c:pt>
                <c:pt idx="91">
                  <c:v>781</c:v>
                </c:pt>
                <c:pt idx="92">
                  <c:v>772</c:v>
                </c:pt>
                <c:pt idx="93">
                  <c:v>762</c:v>
                </c:pt>
                <c:pt idx="94">
                  <c:v>751</c:v>
                </c:pt>
                <c:pt idx="95">
                  <c:v>740</c:v>
                </c:pt>
                <c:pt idx="96">
                  <c:v>728</c:v>
                </c:pt>
                <c:pt idx="97">
                  <c:v>716</c:v>
                </c:pt>
                <c:pt idx="98">
                  <c:v>704</c:v>
                </c:pt>
                <c:pt idx="99">
                  <c:v>692</c:v>
                </c:pt>
                <c:pt idx="100">
                  <c:v>679</c:v>
                </c:pt>
                <c:pt idx="101">
                  <c:v>666</c:v>
                </c:pt>
                <c:pt idx="102">
                  <c:v>653</c:v>
                </c:pt>
                <c:pt idx="103">
                  <c:v>640</c:v>
                </c:pt>
                <c:pt idx="104">
                  <c:v>626</c:v>
                </c:pt>
                <c:pt idx="105">
                  <c:v>613</c:v>
                </c:pt>
                <c:pt idx="106">
                  <c:v>600</c:v>
                </c:pt>
                <c:pt idx="107">
                  <c:v>586</c:v>
                </c:pt>
                <c:pt idx="108">
                  <c:v>573</c:v>
                </c:pt>
                <c:pt idx="109">
                  <c:v>559</c:v>
                </c:pt>
                <c:pt idx="110">
                  <c:v>546</c:v>
                </c:pt>
                <c:pt idx="111">
                  <c:v>533</c:v>
                </c:pt>
                <c:pt idx="112">
                  <c:v>520</c:v>
                </c:pt>
                <c:pt idx="113">
                  <c:v>507</c:v>
                </c:pt>
                <c:pt idx="114">
                  <c:v>494</c:v>
                </c:pt>
                <c:pt idx="115">
                  <c:v>481</c:v>
                </c:pt>
                <c:pt idx="116">
                  <c:v>468</c:v>
                </c:pt>
                <c:pt idx="117">
                  <c:v>456</c:v>
                </c:pt>
                <c:pt idx="118">
                  <c:v>444</c:v>
                </c:pt>
                <c:pt idx="119">
                  <c:v>432</c:v>
                </c:pt>
                <c:pt idx="120">
                  <c:v>420</c:v>
                </c:pt>
                <c:pt idx="121">
                  <c:v>409</c:v>
                </c:pt>
                <c:pt idx="122">
                  <c:v>397</c:v>
                </c:pt>
                <c:pt idx="123">
                  <c:v>386</c:v>
                </c:pt>
                <c:pt idx="124">
                  <c:v>376</c:v>
                </c:pt>
                <c:pt idx="125">
                  <c:v>365</c:v>
                </c:pt>
                <c:pt idx="126">
                  <c:v>355</c:v>
                </c:pt>
                <c:pt idx="127">
                  <c:v>345</c:v>
                </c:pt>
                <c:pt idx="128">
                  <c:v>335</c:v>
                </c:pt>
                <c:pt idx="129">
                  <c:v>325</c:v>
                </c:pt>
                <c:pt idx="130">
                  <c:v>316</c:v>
                </c:pt>
                <c:pt idx="131">
                  <c:v>307</c:v>
                </c:pt>
                <c:pt idx="132">
                  <c:v>298</c:v>
                </c:pt>
                <c:pt idx="133">
                  <c:v>289</c:v>
                </c:pt>
                <c:pt idx="134">
                  <c:v>280</c:v>
                </c:pt>
                <c:pt idx="135">
                  <c:v>271</c:v>
                </c:pt>
                <c:pt idx="136">
                  <c:v>263</c:v>
                </c:pt>
                <c:pt idx="137">
                  <c:v>255</c:v>
                </c:pt>
                <c:pt idx="138">
                  <c:v>247</c:v>
                </c:pt>
                <c:pt idx="139">
                  <c:v>239</c:v>
                </c:pt>
                <c:pt idx="140">
                  <c:v>231</c:v>
                </c:pt>
                <c:pt idx="141">
                  <c:v>224</c:v>
                </c:pt>
                <c:pt idx="142">
                  <c:v>216</c:v>
                </c:pt>
                <c:pt idx="143">
                  <c:v>209</c:v>
                </c:pt>
                <c:pt idx="144">
                  <c:v>203</c:v>
                </c:pt>
                <c:pt idx="145">
                  <c:v>196</c:v>
                </c:pt>
                <c:pt idx="146">
                  <c:v>189</c:v>
                </c:pt>
                <c:pt idx="147">
                  <c:v>183</c:v>
                </c:pt>
                <c:pt idx="148">
                  <c:v>177</c:v>
                </c:pt>
                <c:pt idx="149">
                  <c:v>171</c:v>
                </c:pt>
                <c:pt idx="150">
                  <c:v>165</c:v>
                </c:pt>
                <c:pt idx="151">
                  <c:v>160</c:v>
                </c:pt>
                <c:pt idx="152">
                  <c:v>154</c:v>
                </c:pt>
                <c:pt idx="153">
                  <c:v>149</c:v>
                </c:pt>
                <c:pt idx="154">
                  <c:v>144</c:v>
                </c:pt>
                <c:pt idx="155">
                  <c:v>139</c:v>
                </c:pt>
                <c:pt idx="156">
                  <c:v>134</c:v>
                </c:pt>
                <c:pt idx="157">
                  <c:v>129</c:v>
                </c:pt>
                <c:pt idx="158">
                  <c:v>125</c:v>
                </c:pt>
                <c:pt idx="159">
                  <c:v>120</c:v>
                </c:pt>
                <c:pt idx="160">
                  <c:v>116</c:v>
                </c:pt>
                <c:pt idx="161">
                  <c:v>111</c:v>
                </c:pt>
                <c:pt idx="162">
                  <c:v>107</c:v>
                </c:pt>
                <c:pt idx="163">
                  <c:v>102</c:v>
                </c:pt>
                <c:pt idx="164">
                  <c:v>98</c:v>
                </c:pt>
                <c:pt idx="165">
                  <c:v>94</c:v>
                </c:pt>
                <c:pt idx="166">
                  <c:v>89</c:v>
                </c:pt>
                <c:pt idx="167">
                  <c:v>85</c:v>
                </c:pt>
                <c:pt idx="168">
                  <c:v>81</c:v>
                </c:pt>
                <c:pt idx="169">
                  <c:v>77</c:v>
                </c:pt>
                <c:pt idx="170">
                  <c:v>73</c:v>
                </c:pt>
                <c:pt idx="171">
                  <c:v>69</c:v>
                </c:pt>
                <c:pt idx="172">
                  <c:v>66</c:v>
                </c:pt>
                <c:pt idx="173">
                  <c:v>62</c:v>
                </c:pt>
                <c:pt idx="174">
                  <c:v>59</c:v>
                </c:pt>
                <c:pt idx="175">
                  <c:v>56</c:v>
                </c:pt>
                <c:pt idx="176">
                  <c:v>53</c:v>
                </c:pt>
                <c:pt idx="177">
                  <c:v>50</c:v>
                </c:pt>
                <c:pt idx="178">
                  <c:v>47</c:v>
                </c:pt>
                <c:pt idx="179">
                  <c:v>45</c:v>
                </c:pt>
                <c:pt idx="180">
                  <c:v>42</c:v>
                </c:pt>
                <c:pt idx="181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869</c:v>
                </c:pt>
                <c:pt idx="89">
                  <c:v>871</c:v>
                </c:pt>
                <c:pt idx="90">
                  <c:v>868</c:v>
                </c:pt>
                <c:pt idx="91">
                  <c:v>862</c:v>
                </c:pt>
                <c:pt idx="92">
                  <c:v>854</c:v>
                </c:pt>
                <c:pt idx="93">
                  <c:v>846</c:v>
                </c:pt>
                <c:pt idx="94">
                  <c:v>836</c:v>
                </c:pt>
                <c:pt idx="95">
                  <c:v>826</c:v>
                </c:pt>
                <c:pt idx="96">
                  <c:v>816</c:v>
                </c:pt>
                <c:pt idx="97">
                  <c:v>805</c:v>
                </c:pt>
                <c:pt idx="98">
                  <c:v>793</c:v>
                </c:pt>
                <c:pt idx="99">
                  <c:v>782</c:v>
                </c:pt>
                <c:pt idx="100">
                  <c:v>770</c:v>
                </c:pt>
                <c:pt idx="101">
                  <c:v>758</c:v>
                </c:pt>
                <c:pt idx="102">
                  <c:v>746</c:v>
                </c:pt>
                <c:pt idx="103">
                  <c:v>734</c:v>
                </c:pt>
                <c:pt idx="104">
                  <c:v>722</c:v>
                </c:pt>
                <c:pt idx="105">
                  <c:v>709</c:v>
                </c:pt>
                <c:pt idx="106">
                  <c:v>697</c:v>
                </c:pt>
                <c:pt idx="107">
                  <c:v>685</c:v>
                </c:pt>
                <c:pt idx="108">
                  <c:v>672</c:v>
                </c:pt>
                <c:pt idx="109">
                  <c:v>660</c:v>
                </c:pt>
                <c:pt idx="110">
                  <c:v>648</c:v>
                </c:pt>
                <c:pt idx="111">
                  <c:v>636</c:v>
                </c:pt>
                <c:pt idx="112">
                  <c:v>624</c:v>
                </c:pt>
                <c:pt idx="113">
                  <c:v>612</c:v>
                </c:pt>
                <c:pt idx="114">
                  <c:v>600</c:v>
                </c:pt>
                <c:pt idx="115">
                  <c:v>588</c:v>
                </c:pt>
                <c:pt idx="116">
                  <c:v>576</c:v>
                </c:pt>
                <c:pt idx="117">
                  <c:v>564</c:v>
                </c:pt>
                <c:pt idx="118">
                  <c:v>553</c:v>
                </c:pt>
                <c:pt idx="119">
                  <c:v>542</c:v>
                </c:pt>
                <c:pt idx="120">
                  <c:v>530</c:v>
                </c:pt>
                <c:pt idx="121">
                  <c:v>519</c:v>
                </c:pt>
                <c:pt idx="122">
                  <c:v>508</c:v>
                </c:pt>
                <c:pt idx="123">
                  <c:v>498</c:v>
                </c:pt>
                <c:pt idx="124">
                  <c:v>487</c:v>
                </c:pt>
                <c:pt idx="125">
                  <c:v>477</c:v>
                </c:pt>
                <c:pt idx="126">
                  <c:v>466</c:v>
                </c:pt>
                <c:pt idx="127">
                  <c:v>456</c:v>
                </c:pt>
                <c:pt idx="128">
                  <c:v>446</c:v>
                </c:pt>
                <c:pt idx="129">
                  <c:v>436</c:v>
                </c:pt>
                <c:pt idx="130">
                  <c:v>427</c:v>
                </c:pt>
                <c:pt idx="131">
                  <c:v>417</c:v>
                </c:pt>
                <c:pt idx="132">
                  <c:v>408</c:v>
                </c:pt>
                <c:pt idx="133">
                  <c:v>398</c:v>
                </c:pt>
                <c:pt idx="134">
                  <c:v>389</c:v>
                </c:pt>
                <c:pt idx="135">
                  <c:v>381</c:v>
                </c:pt>
                <c:pt idx="136">
                  <c:v>372</c:v>
                </c:pt>
                <c:pt idx="137">
                  <c:v>363</c:v>
                </c:pt>
                <c:pt idx="138">
                  <c:v>355</c:v>
                </c:pt>
                <c:pt idx="139">
                  <c:v>347</c:v>
                </c:pt>
                <c:pt idx="140">
                  <c:v>339</c:v>
                </c:pt>
                <c:pt idx="141">
                  <c:v>331</c:v>
                </c:pt>
                <c:pt idx="142">
                  <c:v>323</c:v>
                </c:pt>
                <c:pt idx="143">
                  <c:v>315</c:v>
                </c:pt>
                <c:pt idx="144">
                  <c:v>308</c:v>
                </c:pt>
                <c:pt idx="145">
                  <c:v>300</c:v>
                </c:pt>
                <c:pt idx="146">
                  <c:v>293</c:v>
                </c:pt>
                <c:pt idx="147">
                  <c:v>286</c:v>
                </c:pt>
                <c:pt idx="148">
                  <c:v>279</c:v>
                </c:pt>
                <c:pt idx="149">
                  <c:v>273</c:v>
                </c:pt>
                <c:pt idx="150">
                  <c:v>266</c:v>
                </c:pt>
                <c:pt idx="151">
                  <c:v>260</c:v>
                </c:pt>
                <c:pt idx="152">
                  <c:v>253</c:v>
                </c:pt>
                <c:pt idx="153">
                  <c:v>247</c:v>
                </c:pt>
                <c:pt idx="154">
                  <c:v>241</c:v>
                </c:pt>
                <c:pt idx="155">
                  <c:v>235</c:v>
                </c:pt>
                <c:pt idx="156">
                  <c:v>229</c:v>
                </c:pt>
                <c:pt idx="157">
                  <c:v>224</c:v>
                </c:pt>
                <c:pt idx="158">
                  <c:v>218</c:v>
                </c:pt>
                <c:pt idx="159">
                  <c:v>213</c:v>
                </c:pt>
                <c:pt idx="160">
                  <c:v>207</c:v>
                </c:pt>
                <c:pt idx="161">
                  <c:v>202</c:v>
                </c:pt>
                <c:pt idx="162">
                  <c:v>197</c:v>
                </c:pt>
                <c:pt idx="163">
                  <c:v>192</c:v>
                </c:pt>
                <c:pt idx="164">
                  <c:v>187</c:v>
                </c:pt>
                <c:pt idx="165">
                  <c:v>183</c:v>
                </c:pt>
                <c:pt idx="166">
                  <c:v>178</c:v>
                </c:pt>
                <c:pt idx="167">
                  <c:v>174</c:v>
                </c:pt>
                <c:pt idx="168">
                  <c:v>169</c:v>
                </c:pt>
                <c:pt idx="169">
                  <c:v>165</c:v>
                </c:pt>
                <c:pt idx="170">
                  <c:v>161</c:v>
                </c:pt>
                <c:pt idx="171">
                  <c:v>157</c:v>
                </c:pt>
                <c:pt idx="172">
                  <c:v>153</c:v>
                </c:pt>
                <c:pt idx="173">
                  <c:v>149</c:v>
                </c:pt>
                <c:pt idx="174">
                  <c:v>145</c:v>
                </c:pt>
                <c:pt idx="175">
                  <c:v>141</c:v>
                </c:pt>
                <c:pt idx="176">
                  <c:v>138</c:v>
                </c:pt>
                <c:pt idx="177">
                  <c:v>134</c:v>
                </c:pt>
                <c:pt idx="178">
                  <c:v>131</c:v>
                </c:pt>
                <c:pt idx="179">
                  <c:v>127</c:v>
                </c:pt>
                <c:pt idx="180">
                  <c:v>124</c:v>
                </c:pt>
                <c:pt idx="181">
                  <c:v>1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9</c:v>
                </c:pt>
                <c:pt idx="1">
                  <c:v>236</c:v>
                </c:pt>
                <c:pt idx="2">
                  <c:v>214</c:v>
                </c:pt>
                <c:pt idx="3">
                  <c:v>225</c:v>
                </c:pt>
                <c:pt idx="4">
                  <c:v>223</c:v>
                </c:pt>
                <c:pt idx="5">
                  <c:v>91</c:v>
                </c:pt>
                <c:pt idx="6">
                  <c:v>164</c:v>
                </c:pt>
                <c:pt idx="7">
                  <c:v>362</c:v>
                </c:pt>
                <c:pt idx="8">
                  <c:v>349</c:v>
                </c:pt>
                <c:pt idx="9">
                  <c:v>383</c:v>
                </c:pt>
                <c:pt idx="10">
                  <c:v>298</c:v>
                </c:pt>
                <c:pt idx="11">
                  <c:v>213</c:v>
                </c:pt>
                <c:pt idx="12">
                  <c:v>140</c:v>
                </c:pt>
                <c:pt idx="13">
                  <c:v>354</c:v>
                </c:pt>
                <c:pt idx="14">
                  <c:v>377</c:v>
                </c:pt>
                <c:pt idx="15">
                  <c:v>472</c:v>
                </c:pt>
                <c:pt idx="16">
                  <c:v>439</c:v>
                </c:pt>
                <c:pt idx="17">
                  <c:v>370</c:v>
                </c:pt>
                <c:pt idx="18">
                  <c:v>375</c:v>
                </c:pt>
                <c:pt idx="19">
                  <c:v>287</c:v>
                </c:pt>
                <c:pt idx="20">
                  <c:v>472</c:v>
                </c:pt>
                <c:pt idx="21">
                  <c:v>654</c:v>
                </c:pt>
                <c:pt idx="22">
                  <c:v>992</c:v>
                </c:pt>
                <c:pt idx="23">
                  <c:v>260</c:v>
                </c:pt>
                <c:pt idx="24">
                  <c:v>135</c:v>
                </c:pt>
                <c:pt idx="25">
                  <c:v>227</c:v>
                </c:pt>
                <c:pt idx="26">
                  <c:v>314</c:v>
                </c:pt>
                <c:pt idx="27">
                  <c:v>979</c:v>
                </c:pt>
                <c:pt idx="28">
                  <c:v>966</c:v>
                </c:pt>
                <c:pt idx="29">
                  <c:v>1165</c:v>
                </c:pt>
                <c:pt idx="30">
                  <c:v>788</c:v>
                </c:pt>
                <c:pt idx="31">
                  <c:v>439</c:v>
                </c:pt>
                <c:pt idx="32">
                  <c:v>388</c:v>
                </c:pt>
                <c:pt idx="33">
                  <c:v>639</c:v>
                </c:pt>
                <c:pt idx="34">
                  <c:v>1063</c:v>
                </c:pt>
                <c:pt idx="35">
                  <c:v>958</c:v>
                </c:pt>
                <c:pt idx="36">
                  <c:v>1546</c:v>
                </c:pt>
                <c:pt idx="37">
                  <c:v>1099</c:v>
                </c:pt>
                <c:pt idx="38">
                  <c:v>830</c:v>
                </c:pt>
                <c:pt idx="39">
                  <c:v>751</c:v>
                </c:pt>
                <c:pt idx="40">
                  <c:v>714</c:v>
                </c:pt>
                <c:pt idx="41">
                  <c:v>1016</c:v>
                </c:pt>
                <c:pt idx="42">
                  <c:v>581</c:v>
                </c:pt>
                <c:pt idx="43">
                  <c:v>879</c:v>
                </c:pt>
                <c:pt idx="44">
                  <c:v>844</c:v>
                </c:pt>
                <c:pt idx="45">
                  <c:v>658</c:v>
                </c:pt>
                <c:pt idx="46">
                  <c:v>582</c:v>
                </c:pt>
                <c:pt idx="47">
                  <c:v>351</c:v>
                </c:pt>
                <c:pt idx="48">
                  <c:v>891</c:v>
                </c:pt>
                <c:pt idx="49">
                  <c:v>883</c:v>
                </c:pt>
                <c:pt idx="50">
                  <c:v>889</c:v>
                </c:pt>
                <c:pt idx="51">
                  <c:v>803</c:v>
                </c:pt>
                <c:pt idx="52">
                  <c:v>780</c:v>
                </c:pt>
                <c:pt idx="53">
                  <c:v>704</c:v>
                </c:pt>
                <c:pt idx="54">
                  <c:v>384</c:v>
                </c:pt>
                <c:pt idx="55">
                  <c:v>638</c:v>
                </c:pt>
                <c:pt idx="56">
                  <c:v>956</c:v>
                </c:pt>
                <c:pt idx="57">
                  <c:v>820</c:v>
                </c:pt>
                <c:pt idx="58">
                  <c:v>1013</c:v>
                </c:pt>
                <c:pt idx="59">
                  <c:v>792</c:v>
                </c:pt>
                <c:pt idx="60">
                  <c:v>611</c:v>
                </c:pt>
                <c:pt idx="61">
                  <c:v>535</c:v>
                </c:pt>
                <c:pt idx="62">
                  <c:v>517</c:v>
                </c:pt>
                <c:pt idx="63">
                  <c:v>882</c:v>
                </c:pt>
                <c:pt idx="64">
                  <c:v>1285</c:v>
                </c:pt>
                <c:pt idx="65">
                  <c:v>928</c:v>
                </c:pt>
                <c:pt idx="66">
                  <c:v>814</c:v>
                </c:pt>
                <c:pt idx="67">
                  <c:v>552</c:v>
                </c:pt>
                <c:pt idx="68">
                  <c:v>506</c:v>
                </c:pt>
                <c:pt idx="69">
                  <c:v>713</c:v>
                </c:pt>
                <c:pt idx="70">
                  <c:v>998</c:v>
                </c:pt>
                <c:pt idx="71">
                  <c:v>1038</c:v>
                </c:pt>
                <c:pt idx="72">
                  <c:v>980</c:v>
                </c:pt>
                <c:pt idx="73">
                  <c:v>680</c:v>
                </c:pt>
                <c:pt idx="74">
                  <c:v>682</c:v>
                </c:pt>
                <c:pt idx="75">
                  <c:v>406</c:v>
                </c:pt>
                <c:pt idx="76">
                  <c:v>866</c:v>
                </c:pt>
                <c:pt idx="77">
                  <c:v>982</c:v>
                </c:pt>
                <c:pt idx="78">
                  <c:v>778</c:v>
                </c:pt>
                <c:pt idx="79">
                  <c:v>1171</c:v>
                </c:pt>
                <c:pt idx="80">
                  <c:v>863</c:v>
                </c:pt>
                <c:pt idx="81">
                  <c:v>690</c:v>
                </c:pt>
                <c:pt idx="82">
                  <c:v>436</c:v>
                </c:pt>
                <c:pt idx="83">
                  <c:v>1045</c:v>
                </c:pt>
                <c:pt idx="84">
                  <c:v>928</c:v>
                </c:pt>
                <c:pt idx="85">
                  <c:v>1161</c:v>
                </c:pt>
                <c:pt idx="86">
                  <c:v>827</c:v>
                </c:pt>
                <c:pt idx="87">
                  <c:v>1014</c:v>
                </c:pt>
                <c:pt idx="88">
                  <c:v>496</c:v>
                </c:pt>
                <c:pt idx="89">
                  <c:v>645</c:v>
                </c:pt>
                <c:pt idx="90">
                  <c:v>763</c:v>
                </c:pt>
                <c:pt idx="91">
                  <c:v>952</c:v>
                </c:pt>
                <c:pt idx="92">
                  <c:v>845</c:v>
                </c:pt>
                <c:pt idx="93">
                  <c:v>805</c:v>
                </c:pt>
                <c:pt idx="94">
                  <c:v>763</c:v>
                </c:pt>
                <c:pt idx="95">
                  <c:v>593</c:v>
                </c:pt>
                <c:pt idx="96">
                  <c:v>377</c:v>
                </c:pt>
                <c:pt idx="97">
                  <c:v>513</c:v>
                </c:pt>
                <c:pt idx="98">
                  <c:v>675</c:v>
                </c:pt>
                <c:pt idx="99">
                  <c:v>682</c:v>
                </c:pt>
                <c:pt idx="100">
                  <c:v>524</c:v>
                </c:pt>
                <c:pt idx="101">
                  <c:v>783</c:v>
                </c:pt>
                <c:pt idx="102">
                  <c:v>278</c:v>
                </c:pt>
                <c:pt idx="103">
                  <c:v>211</c:v>
                </c:pt>
                <c:pt idx="104">
                  <c:v>533</c:v>
                </c:pt>
                <c:pt idx="105">
                  <c:v>496</c:v>
                </c:pt>
                <c:pt idx="106">
                  <c:v>448</c:v>
                </c:pt>
                <c:pt idx="107">
                  <c:v>381</c:v>
                </c:pt>
                <c:pt idx="108">
                  <c:v>346</c:v>
                </c:pt>
                <c:pt idx="109">
                  <c:v>229</c:v>
                </c:pt>
                <c:pt idx="110">
                  <c:v>139</c:v>
                </c:pt>
                <c:pt idx="111">
                  <c:v>313</c:v>
                </c:pt>
                <c:pt idx="112">
                  <c:v>365</c:v>
                </c:pt>
                <c:pt idx="113">
                  <c:v>269</c:v>
                </c:pt>
                <c:pt idx="114">
                  <c:v>232</c:v>
                </c:pt>
                <c:pt idx="115">
                  <c:v>241</c:v>
                </c:pt>
                <c:pt idx="116">
                  <c:v>140</c:v>
                </c:pt>
                <c:pt idx="117">
                  <c:v>83</c:v>
                </c:pt>
                <c:pt idx="118">
                  <c:v>253</c:v>
                </c:pt>
                <c:pt idx="119">
                  <c:v>221</c:v>
                </c:pt>
                <c:pt idx="120">
                  <c:v>172</c:v>
                </c:pt>
                <c:pt idx="121">
                  <c:v>147</c:v>
                </c:pt>
                <c:pt idx="122">
                  <c:v>94</c:v>
                </c:pt>
                <c:pt idx="123">
                  <c:v>76</c:v>
                </c:pt>
                <c:pt idx="124">
                  <c:v>64</c:v>
                </c:pt>
                <c:pt idx="125">
                  <c:v>77</c:v>
                </c:pt>
                <c:pt idx="126">
                  <c:v>130</c:v>
                </c:pt>
                <c:pt idx="127">
                  <c:v>137</c:v>
                </c:pt>
                <c:pt idx="128">
                  <c:v>129</c:v>
                </c:pt>
                <c:pt idx="129">
                  <c:v>80</c:v>
                </c:pt>
                <c:pt idx="130">
                  <c:v>58</c:v>
                </c:pt>
                <c:pt idx="131">
                  <c:v>59</c:v>
                </c:pt>
                <c:pt idx="132">
                  <c:v>48</c:v>
                </c:pt>
                <c:pt idx="133">
                  <c:v>109</c:v>
                </c:pt>
                <c:pt idx="134">
                  <c:v>90</c:v>
                </c:pt>
                <c:pt idx="135">
                  <c:v>66</c:v>
                </c:pt>
                <c:pt idx="136">
                  <c:v>47</c:v>
                </c:pt>
                <c:pt idx="137">
                  <c:v>40</c:v>
                </c:pt>
                <c:pt idx="138">
                  <c:v>44</c:v>
                </c:pt>
                <c:pt idx="139">
                  <c:v>40</c:v>
                </c:pt>
                <c:pt idx="140">
                  <c:v>70</c:v>
                </c:pt>
                <c:pt idx="141">
                  <c:v>49</c:v>
                </c:pt>
                <c:pt idx="142">
                  <c:v>40</c:v>
                </c:pt>
                <c:pt idx="143">
                  <c:v>38</c:v>
                </c:pt>
                <c:pt idx="144">
                  <c:v>38</c:v>
                </c:pt>
                <c:pt idx="145">
                  <c:v>22</c:v>
                </c:pt>
                <c:pt idx="146">
                  <c:v>58</c:v>
                </c:pt>
                <c:pt idx="147">
                  <c:v>44</c:v>
                </c:pt>
                <c:pt idx="148">
                  <c:v>53</c:v>
                </c:pt>
                <c:pt idx="149">
                  <c:v>61</c:v>
                </c:pt>
                <c:pt idx="150">
                  <c:v>36</c:v>
                </c:pt>
                <c:pt idx="151">
                  <c:v>40</c:v>
                </c:pt>
                <c:pt idx="152">
                  <c:v>15</c:v>
                </c:pt>
                <c:pt idx="153">
                  <c:v>27</c:v>
                </c:pt>
                <c:pt idx="154">
                  <c:v>40</c:v>
                </c:pt>
                <c:pt idx="155">
                  <c:v>43</c:v>
                </c:pt>
                <c:pt idx="156">
                  <c:v>25</c:v>
                </c:pt>
                <c:pt idx="157">
                  <c:v>40</c:v>
                </c:pt>
                <c:pt idx="158">
                  <c:v>10</c:v>
                </c:pt>
                <c:pt idx="159">
                  <c:v>22</c:v>
                </c:pt>
                <c:pt idx="160">
                  <c:v>16</c:v>
                </c:pt>
                <c:pt idx="161">
                  <c:v>26</c:v>
                </c:pt>
                <c:pt idx="162">
                  <c:v>29</c:v>
                </c:pt>
                <c:pt idx="163">
                  <c:v>33</c:v>
                </c:pt>
                <c:pt idx="164">
                  <c:v>22</c:v>
                </c:pt>
                <c:pt idx="165">
                  <c:v>10</c:v>
                </c:pt>
                <c:pt idx="166">
                  <c:v>16</c:v>
                </c:pt>
                <c:pt idx="167">
                  <c:v>25</c:v>
                </c:pt>
                <c:pt idx="168">
                  <c:v>28</c:v>
                </c:pt>
                <c:pt idx="169">
                  <c:v>8</c:v>
                </c:pt>
                <c:pt idx="170">
                  <c:v>19</c:v>
                </c:pt>
                <c:pt idx="171">
                  <c:v>11</c:v>
                </c:pt>
                <c:pt idx="172">
                  <c:v>10</c:v>
                </c:pt>
                <c:pt idx="173">
                  <c:v>9</c:v>
                </c:pt>
                <c:pt idx="174">
                  <c:v>9</c:v>
                </c:pt>
                <c:pt idx="175">
                  <c:v>12</c:v>
                </c:pt>
                <c:pt idx="176">
                  <c:v>13</c:v>
                </c:pt>
                <c:pt idx="177">
                  <c:v>9</c:v>
                </c:pt>
                <c:pt idx="178">
                  <c:v>14</c:v>
                </c:pt>
                <c:pt idx="179">
                  <c:v>1</c:v>
                </c:pt>
                <c:pt idx="18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8AA-4091-93F5-5E97C78DB2B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5</c:v>
                </c:pt>
                <c:pt idx="169">
                  <c:v>24</c:v>
                </c:pt>
                <c:pt idx="170">
                  <c:v>23</c:v>
                </c:pt>
                <c:pt idx="171">
                  <c:v>22</c:v>
                </c:pt>
                <c:pt idx="172">
                  <c:v>21</c:v>
                </c:pt>
                <c:pt idx="173">
                  <c:v>20</c:v>
                </c:pt>
                <c:pt idx="174">
                  <c:v>19</c:v>
                </c:pt>
                <c:pt idx="175">
                  <c:v>18</c:v>
                </c:pt>
                <c:pt idx="176">
                  <c:v>17</c:v>
                </c:pt>
                <c:pt idx="177">
                  <c:v>16</c:v>
                </c:pt>
                <c:pt idx="178">
                  <c:v>15</c:v>
                </c:pt>
                <c:pt idx="179">
                  <c:v>15</c:v>
                </c:pt>
                <c:pt idx="180">
                  <c:v>14</c:v>
                </c:pt>
                <c:pt idx="181">
                  <c:v>13</c:v>
                </c:pt>
                <c:pt idx="182">
                  <c:v>12</c:v>
                </c:pt>
                <c:pt idx="183">
                  <c:v>12</c:v>
                </c:pt>
                <c:pt idx="184">
                  <c:v>11</c:v>
                </c:pt>
                <c:pt idx="185">
                  <c:v>10</c:v>
                </c:pt>
                <c:pt idx="186">
                  <c:v>10</c:v>
                </c:pt>
                <c:pt idx="187">
                  <c:v>9</c:v>
                </c:pt>
                <c:pt idx="188">
                  <c:v>9</c:v>
                </c:pt>
                <c:pt idx="189">
                  <c:v>8</c:v>
                </c:pt>
                <c:pt idx="190">
                  <c:v>8</c:v>
                </c:pt>
                <c:pt idx="191">
                  <c:v>7</c:v>
                </c:pt>
                <c:pt idx="192">
                  <c:v>7</c:v>
                </c:pt>
                <c:pt idx="193">
                  <c:v>6</c:v>
                </c:pt>
                <c:pt idx="194">
                  <c:v>6</c:v>
                </c:pt>
                <c:pt idx="195">
                  <c:v>6</c:v>
                </c:pt>
                <c:pt idx="196">
                  <c:v>5</c:v>
                </c:pt>
                <c:pt idx="197">
                  <c:v>5</c:v>
                </c:pt>
                <c:pt idx="198">
                  <c:v>5</c:v>
                </c:pt>
                <c:pt idx="199">
                  <c:v>4</c:v>
                </c:pt>
                <c:pt idx="200">
                  <c:v>4</c:v>
                </c:pt>
                <c:pt idx="201">
                  <c:v>4</c:v>
                </c:pt>
                <c:pt idx="202">
                  <c:v>4</c:v>
                </c:pt>
                <c:pt idx="203">
                  <c:v>3</c:v>
                </c:pt>
                <c:pt idx="204">
                  <c:v>3</c:v>
                </c:pt>
                <c:pt idx="205">
                  <c:v>3</c:v>
                </c:pt>
                <c:pt idx="206">
                  <c:v>3</c:v>
                </c:pt>
                <c:pt idx="207">
                  <c:v>3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8AA-4091-93F5-5E97C78DB2B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6</c:v>
                </c:pt>
                <c:pt idx="169">
                  <c:v>26</c:v>
                </c:pt>
                <c:pt idx="170">
                  <c:v>25</c:v>
                </c:pt>
                <c:pt idx="171">
                  <c:v>25</c:v>
                </c:pt>
                <c:pt idx="172">
                  <c:v>25</c:v>
                </c:pt>
                <c:pt idx="173">
                  <c:v>25</c:v>
                </c:pt>
                <c:pt idx="174">
                  <c:v>25</c:v>
                </c:pt>
                <c:pt idx="175">
                  <c:v>26</c:v>
                </c:pt>
                <c:pt idx="176">
                  <c:v>26</c:v>
                </c:pt>
                <c:pt idx="177">
                  <c:v>27</c:v>
                </c:pt>
                <c:pt idx="178">
                  <c:v>27</c:v>
                </c:pt>
                <c:pt idx="179">
                  <c:v>28</c:v>
                </c:pt>
                <c:pt idx="180">
                  <c:v>29</c:v>
                </c:pt>
                <c:pt idx="181">
                  <c:v>29</c:v>
                </c:pt>
                <c:pt idx="182">
                  <c:v>30</c:v>
                </c:pt>
                <c:pt idx="183">
                  <c:v>31</c:v>
                </c:pt>
                <c:pt idx="184">
                  <c:v>32</c:v>
                </c:pt>
                <c:pt idx="185">
                  <c:v>32</c:v>
                </c:pt>
                <c:pt idx="186">
                  <c:v>33</c:v>
                </c:pt>
                <c:pt idx="187">
                  <c:v>34</c:v>
                </c:pt>
                <c:pt idx="188">
                  <c:v>35</c:v>
                </c:pt>
                <c:pt idx="189">
                  <c:v>35</c:v>
                </c:pt>
                <c:pt idx="190">
                  <c:v>36</c:v>
                </c:pt>
                <c:pt idx="191">
                  <c:v>37</c:v>
                </c:pt>
                <c:pt idx="192">
                  <c:v>38</c:v>
                </c:pt>
                <c:pt idx="193">
                  <c:v>39</c:v>
                </c:pt>
                <c:pt idx="194">
                  <c:v>39</c:v>
                </c:pt>
                <c:pt idx="195">
                  <c:v>40</c:v>
                </c:pt>
                <c:pt idx="196">
                  <c:v>41</c:v>
                </c:pt>
                <c:pt idx="197">
                  <c:v>42</c:v>
                </c:pt>
                <c:pt idx="198">
                  <c:v>42</c:v>
                </c:pt>
                <c:pt idx="199">
                  <c:v>43</c:v>
                </c:pt>
                <c:pt idx="200">
                  <c:v>43</c:v>
                </c:pt>
                <c:pt idx="201">
                  <c:v>44</c:v>
                </c:pt>
                <c:pt idx="202">
                  <c:v>44</c:v>
                </c:pt>
                <c:pt idx="203">
                  <c:v>45</c:v>
                </c:pt>
                <c:pt idx="204">
                  <c:v>45</c:v>
                </c:pt>
                <c:pt idx="205">
                  <c:v>45</c:v>
                </c:pt>
                <c:pt idx="206">
                  <c:v>45</c:v>
                </c:pt>
                <c:pt idx="207">
                  <c:v>45</c:v>
                </c:pt>
                <c:pt idx="208">
                  <c:v>45</c:v>
                </c:pt>
                <c:pt idx="209">
                  <c:v>45</c:v>
                </c:pt>
                <c:pt idx="210">
                  <c:v>45</c:v>
                </c:pt>
                <c:pt idx="211">
                  <c:v>45</c:v>
                </c:pt>
                <c:pt idx="212">
                  <c:v>45</c:v>
                </c:pt>
                <c:pt idx="213">
                  <c:v>44</c:v>
                </c:pt>
                <c:pt idx="214">
                  <c:v>44</c:v>
                </c:pt>
                <c:pt idx="215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8AA-4091-93F5-5E97C78DB2B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AA-4091-93F5-5E97C78DB2B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87</c:v>
                </c:pt>
                <c:pt idx="1">
                  <c:v>179</c:v>
                </c:pt>
                <c:pt idx="2">
                  <c:v>219</c:v>
                </c:pt>
                <c:pt idx="3">
                  <c:v>293</c:v>
                </c:pt>
                <c:pt idx="4">
                  <c:v>118</c:v>
                </c:pt>
                <c:pt idx="5">
                  <c:v>48</c:v>
                </c:pt>
                <c:pt idx="6">
                  <c:v>238</c:v>
                </c:pt>
                <c:pt idx="7">
                  <c:v>345</c:v>
                </c:pt>
                <c:pt idx="8">
                  <c:v>354</c:v>
                </c:pt>
                <c:pt idx="9">
                  <c:v>426</c:v>
                </c:pt>
                <c:pt idx="10">
                  <c:v>396</c:v>
                </c:pt>
                <c:pt idx="11">
                  <c:v>129</c:v>
                </c:pt>
                <c:pt idx="12">
                  <c:v>85</c:v>
                </c:pt>
                <c:pt idx="13">
                  <c:v>288</c:v>
                </c:pt>
                <c:pt idx="14">
                  <c:v>414</c:v>
                </c:pt>
                <c:pt idx="15">
                  <c:v>484</c:v>
                </c:pt>
                <c:pt idx="16">
                  <c:v>403</c:v>
                </c:pt>
                <c:pt idx="17">
                  <c:v>441</c:v>
                </c:pt>
                <c:pt idx="18">
                  <c:v>260</c:v>
                </c:pt>
                <c:pt idx="19">
                  <c:v>135</c:v>
                </c:pt>
                <c:pt idx="20">
                  <c:v>373</c:v>
                </c:pt>
                <c:pt idx="21">
                  <c:v>559</c:v>
                </c:pt>
                <c:pt idx="22">
                  <c:v>692</c:v>
                </c:pt>
                <c:pt idx="23">
                  <c:v>213</c:v>
                </c:pt>
                <c:pt idx="24">
                  <c:v>67</c:v>
                </c:pt>
                <c:pt idx="25">
                  <c:v>157</c:v>
                </c:pt>
                <c:pt idx="26">
                  <c:v>233</c:v>
                </c:pt>
                <c:pt idx="27">
                  <c:v>622</c:v>
                </c:pt>
                <c:pt idx="28">
                  <c:v>859</c:v>
                </c:pt>
                <c:pt idx="29">
                  <c:v>891</c:v>
                </c:pt>
                <c:pt idx="30">
                  <c:v>813</c:v>
                </c:pt>
                <c:pt idx="31">
                  <c:v>134</c:v>
                </c:pt>
                <c:pt idx="32">
                  <c:v>266</c:v>
                </c:pt>
                <c:pt idx="33">
                  <c:v>441</c:v>
                </c:pt>
                <c:pt idx="34">
                  <c:v>877</c:v>
                </c:pt>
                <c:pt idx="35">
                  <c:v>944</c:v>
                </c:pt>
                <c:pt idx="36">
                  <c:v>1120</c:v>
                </c:pt>
                <c:pt idx="37">
                  <c:v>745</c:v>
                </c:pt>
                <c:pt idx="38">
                  <c:v>718</c:v>
                </c:pt>
                <c:pt idx="39">
                  <c:v>437</c:v>
                </c:pt>
                <c:pt idx="40">
                  <c:v>272</c:v>
                </c:pt>
                <c:pt idx="41">
                  <c:v>675</c:v>
                </c:pt>
                <c:pt idx="42">
                  <c:v>560</c:v>
                </c:pt>
                <c:pt idx="43">
                  <c:v>647</c:v>
                </c:pt>
                <c:pt idx="44">
                  <c:v>525</c:v>
                </c:pt>
                <c:pt idx="45">
                  <c:v>580</c:v>
                </c:pt>
                <c:pt idx="46">
                  <c:v>246</c:v>
                </c:pt>
                <c:pt idx="47">
                  <c:v>150</c:v>
                </c:pt>
                <c:pt idx="48">
                  <c:v>456</c:v>
                </c:pt>
                <c:pt idx="49">
                  <c:v>510</c:v>
                </c:pt>
                <c:pt idx="50">
                  <c:v>604</c:v>
                </c:pt>
                <c:pt idx="51">
                  <c:v>395</c:v>
                </c:pt>
                <c:pt idx="52">
                  <c:v>492</c:v>
                </c:pt>
                <c:pt idx="53">
                  <c:v>158</c:v>
                </c:pt>
                <c:pt idx="54">
                  <c:v>89</c:v>
                </c:pt>
                <c:pt idx="55">
                  <c:v>445</c:v>
                </c:pt>
                <c:pt idx="56">
                  <c:v>626</c:v>
                </c:pt>
                <c:pt idx="57">
                  <c:v>449</c:v>
                </c:pt>
                <c:pt idx="58">
                  <c:v>450</c:v>
                </c:pt>
                <c:pt idx="59">
                  <c:v>467</c:v>
                </c:pt>
                <c:pt idx="60">
                  <c:v>285</c:v>
                </c:pt>
                <c:pt idx="61">
                  <c:v>99</c:v>
                </c:pt>
                <c:pt idx="62">
                  <c:v>508</c:v>
                </c:pt>
                <c:pt idx="63">
                  <c:v>590</c:v>
                </c:pt>
                <c:pt idx="64">
                  <c:v>610</c:v>
                </c:pt>
                <c:pt idx="65">
                  <c:v>415</c:v>
                </c:pt>
                <c:pt idx="66">
                  <c:v>494</c:v>
                </c:pt>
                <c:pt idx="67">
                  <c:v>307</c:v>
                </c:pt>
                <c:pt idx="68">
                  <c:v>134</c:v>
                </c:pt>
                <c:pt idx="69">
                  <c:v>617</c:v>
                </c:pt>
                <c:pt idx="70">
                  <c:v>651</c:v>
                </c:pt>
                <c:pt idx="71">
                  <c:v>627</c:v>
                </c:pt>
                <c:pt idx="72">
                  <c:v>554</c:v>
                </c:pt>
                <c:pt idx="73">
                  <c:v>597</c:v>
                </c:pt>
                <c:pt idx="74">
                  <c:v>331</c:v>
                </c:pt>
                <c:pt idx="75">
                  <c:v>230</c:v>
                </c:pt>
                <c:pt idx="76">
                  <c:v>699</c:v>
                </c:pt>
                <c:pt idx="77">
                  <c:v>766</c:v>
                </c:pt>
                <c:pt idx="78">
                  <c:v>700</c:v>
                </c:pt>
                <c:pt idx="79">
                  <c:v>784</c:v>
                </c:pt>
                <c:pt idx="80">
                  <c:v>815</c:v>
                </c:pt>
                <c:pt idx="81">
                  <c:v>345</c:v>
                </c:pt>
                <c:pt idx="82">
                  <c:v>222</c:v>
                </c:pt>
                <c:pt idx="83">
                  <c:v>803</c:v>
                </c:pt>
                <c:pt idx="84">
                  <c:v>1054</c:v>
                </c:pt>
                <c:pt idx="85">
                  <c:v>1006</c:v>
                </c:pt>
                <c:pt idx="86">
                  <c:v>925</c:v>
                </c:pt>
                <c:pt idx="87">
                  <c:v>866</c:v>
                </c:pt>
                <c:pt idx="88">
                  <c:v>286</c:v>
                </c:pt>
                <c:pt idx="89">
                  <c:v>307</c:v>
                </c:pt>
                <c:pt idx="90">
                  <c:v>878</c:v>
                </c:pt>
                <c:pt idx="91">
                  <c:v>1056</c:v>
                </c:pt>
                <c:pt idx="92">
                  <c:v>1023</c:v>
                </c:pt>
                <c:pt idx="93">
                  <c:v>875</c:v>
                </c:pt>
                <c:pt idx="94">
                  <c:v>755</c:v>
                </c:pt>
                <c:pt idx="95">
                  <c:v>493</c:v>
                </c:pt>
                <c:pt idx="96">
                  <c:v>190</c:v>
                </c:pt>
                <c:pt idx="97">
                  <c:v>799</c:v>
                </c:pt>
                <c:pt idx="98">
                  <c:v>925</c:v>
                </c:pt>
                <c:pt idx="99">
                  <c:v>800</c:v>
                </c:pt>
                <c:pt idx="100">
                  <c:v>665</c:v>
                </c:pt>
                <c:pt idx="101">
                  <c:v>1145</c:v>
                </c:pt>
                <c:pt idx="102">
                  <c:v>302</c:v>
                </c:pt>
                <c:pt idx="103">
                  <c:v>183</c:v>
                </c:pt>
                <c:pt idx="104">
                  <c:v>779</c:v>
                </c:pt>
                <c:pt idx="105">
                  <c:v>825</c:v>
                </c:pt>
                <c:pt idx="106">
                  <c:v>704</c:v>
                </c:pt>
                <c:pt idx="107">
                  <c:v>574</c:v>
                </c:pt>
                <c:pt idx="108">
                  <c:v>601</c:v>
                </c:pt>
                <c:pt idx="109">
                  <c:v>237</c:v>
                </c:pt>
                <c:pt idx="110">
                  <c:v>145</c:v>
                </c:pt>
                <c:pt idx="111">
                  <c:v>541</c:v>
                </c:pt>
                <c:pt idx="112">
                  <c:v>712</c:v>
                </c:pt>
                <c:pt idx="113">
                  <c:v>472</c:v>
                </c:pt>
                <c:pt idx="114">
                  <c:v>505</c:v>
                </c:pt>
                <c:pt idx="115">
                  <c:v>441</c:v>
                </c:pt>
                <c:pt idx="116">
                  <c:v>134</c:v>
                </c:pt>
                <c:pt idx="117">
                  <c:v>57</c:v>
                </c:pt>
                <c:pt idx="118">
                  <c:v>414</c:v>
                </c:pt>
                <c:pt idx="119">
                  <c:v>539</c:v>
                </c:pt>
                <c:pt idx="120">
                  <c:v>417</c:v>
                </c:pt>
                <c:pt idx="121">
                  <c:v>435</c:v>
                </c:pt>
                <c:pt idx="122">
                  <c:v>223</c:v>
                </c:pt>
                <c:pt idx="123">
                  <c:v>137</c:v>
                </c:pt>
                <c:pt idx="124">
                  <c:v>77</c:v>
                </c:pt>
                <c:pt idx="125">
                  <c:v>89</c:v>
                </c:pt>
                <c:pt idx="126">
                  <c:v>427</c:v>
                </c:pt>
                <c:pt idx="127">
                  <c:v>451</c:v>
                </c:pt>
                <c:pt idx="128">
                  <c:v>265</c:v>
                </c:pt>
                <c:pt idx="129">
                  <c:v>323</c:v>
                </c:pt>
                <c:pt idx="130">
                  <c:v>74</c:v>
                </c:pt>
                <c:pt idx="131">
                  <c:v>38</c:v>
                </c:pt>
                <c:pt idx="132">
                  <c:v>218</c:v>
                </c:pt>
                <c:pt idx="133">
                  <c:v>359</c:v>
                </c:pt>
                <c:pt idx="134">
                  <c:v>178</c:v>
                </c:pt>
                <c:pt idx="135">
                  <c:v>168</c:v>
                </c:pt>
                <c:pt idx="136">
                  <c:v>170</c:v>
                </c:pt>
                <c:pt idx="137">
                  <c:v>76</c:v>
                </c:pt>
                <c:pt idx="138">
                  <c:v>36</c:v>
                </c:pt>
                <c:pt idx="139">
                  <c:v>195</c:v>
                </c:pt>
                <c:pt idx="140">
                  <c:v>180</c:v>
                </c:pt>
                <c:pt idx="141">
                  <c:v>172</c:v>
                </c:pt>
                <c:pt idx="142">
                  <c:v>97</c:v>
                </c:pt>
                <c:pt idx="143">
                  <c:v>135</c:v>
                </c:pt>
                <c:pt idx="144">
                  <c:v>31</c:v>
                </c:pt>
                <c:pt idx="145">
                  <c:v>27</c:v>
                </c:pt>
                <c:pt idx="146">
                  <c:v>150</c:v>
                </c:pt>
                <c:pt idx="147">
                  <c:v>121</c:v>
                </c:pt>
                <c:pt idx="148">
                  <c:v>78</c:v>
                </c:pt>
                <c:pt idx="149">
                  <c:v>88</c:v>
                </c:pt>
                <c:pt idx="150">
                  <c:v>79</c:v>
                </c:pt>
                <c:pt idx="151">
                  <c:v>19</c:v>
                </c:pt>
                <c:pt idx="152">
                  <c:v>17</c:v>
                </c:pt>
                <c:pt idx="153">
                  <c:v>138</c:v>
                </c:pt>
                <c:pt idx="154">
                  <c:v>67</c:v>
                </c:pt>
                <c:pt idx="155">
                  <c:v>91</c:v>
                </c:pt>
                <c:pt idx="156">
                  <c:v>49</c:v>
                </c:pt>
                <c:pt idx="157">
                  <c:v>52</c:v>
                </c:pt>
                <c:pt idx="158">
                  <c:v>19</c:v>
                </c:pt>
                <c:pt idx="159">
                  <c:v>17</c:v>
                </c:pt>
                <c:pt idx="160">
                  <c:v>64</c:v>
                </c:pt>
                <c:pt idx="161">
                  <c:v>72</c:v>
                </c:pt>
                <c:pt idx="162">
                  <c:v>50</c:v>
                </c:pt>
                <c:pt idx="163">
                  <c:v>45</c:v>
                </c:pt>
                <c:pt idx="164">
                  <c:v>43</c:v>
                </c:pt>
                <c:pt idx="165">
                  <c:v>1</c:v>
                </c:pt>
                <c:pt idx="166">
                  <c:v>11</c:v>
                </c:pt>
                <c:pt idx="167">
                  <c:v>44</c:v>
                </c:pt>
                <c:pt idx="168">
                  <c:v>56</c:v>
                </c:pt>
                <c:pt idx="169">
                  <c:v>22</c:v>
                </c:pt>
                <c:pt idx="170">
                  <c:v>19</c:v>
                </c:pt>
                <c:pt idx="171">
                  <c:v>25</c:v>
                </c:pt>
                <c:pt idx="172">
                  <c:v>3</c:v>
                </c:pt>
                <c:pt idx="173">
                  <c:v>2</c:v>
                </c:pt>
                <c:pt idx="174">
                  <c:v>22</c:v>
                </c:pt>
                <c:pt idx="175">
                  <c:v>28</c:v>
                </c:pt>
                <c:pt idx="176">
                  <c:v>10</c:v>
                </c:pt>
                <c:pt idx="177">
                  <c:v>11</c:v>
                </c:pt>
                <c:pt idx="178">
                  <c:v>9</c:v>
                </c:pt>
                <c:pt idx="179">
                  <c:v>6</c:v>
                </c:pt>
                <c:pt idx="18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DC-452D-A624-F32B0A03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6DC-452D-A624-F32B0A03DBFC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841</c:v>
                </c:pt>
                <c:pt idx="89">
                  <c:v>856</c:v>
                </c:pt>
                <c:pt idx="90">
                  <c:v>869</c:v>
                </c:pt>
                <c:pt idx="91">
                  <c:v>880</c:v>
                </c:pt>
                <c:pt idx="92">
                  <c:v>890</c:v>
                </c:pt>
                <c:pt idx="93">
                  <c:v>899</c:v>
                </c:pt>
                <c:pt idx="94">
                  <c:v>907</c:v>
                </c:pt>
                <c:pt idx="95">
                  <c:v>915</c:v>
                </c:pt>
                <c:pt idx="96">
                  <c:v>923</c:v>
                </c:pt>
                <c:pt idx="97">
                  <c:v>930</c:v>
                </c:pt>
                <c:pt idx="98">
                  <c:v>936</c:v>
                </c:pt>
                <c:pt idx="99">
                  <c:v>942</c:v>
                </c:pt>
                <c:pt idx="100">
                  <c:v>948</c:v>
                </c:pt>
                <c:pt idx="101">
                  <c:v>953</c:v>
                </c:pt>
                <c:pt idx="102">
                  <c:v>958</c:v>
                </c:pt>
                <c:pt idx="103">
                  <c:v>962</c:v>
                </c:pt>
                <c:pt idx="104">
                  <c:v>966</c:v>
                </c:pt>
                <c:pt idx="105">
                  <c:v>969</c:v>
                </c:pt>
                <c:pt idx="106">
                  <c:v>972</c:v>
                </c:pt>
                <c:pt idx="107">
                  <c:v>975</c:v>
                </c:pt>
                <c:pt idx="108">
                  <c:v>977</c:v>
                </c:pt>
                <c:pt idx="109">
                  <c:v>979</c:v>
                </c:pt>
                <c:pt idx="110">
                  <c:v>980</c:v>
                </c:pt>
                <c:pt idx="111">
                  <c:v>981</c:v>
                </c:pt>
                <c:pt idx="112">
                  <c:v>982</c:v>
                </c:pt>
                <c:pt idx="113">
                  <c:v>982</c:v>
                </c:pt>
                <c:pt idx="114">
                  <c:v>982</c:v>
                </c:pt>
                <c:pt idx="115">
                  <c:v>981</c:v>
                </c:pt>
                <c:pt idx="116">
                  <c:v>980</c:v>
                </c:pt>
                <c:pt idx="117">
                  <c:v>979</c:v>
                </c:pt>
                <c:pt idx="118">
                  <c:v>977</c:v>
                </c:pt>
                <c:pt idx="119">
                  <c:v>975</c:v>
                </c:pt>
                <c:pt idx="120">
                  <c:v>973</c:v>
                </c:pt>
                <c:pt idx="121">
                  <c:v>970</c:v>
                </c:pt>
                <c:pt idx="122">
                  <c:v>967</c:v>
                </c:pt>
                <c:pt idx="123">
                  <c:v>963</c:v>
                </c:pt>
                <c:pt idx="124">
                  <c:v>960</c:v>
                </c:pt>
                <c:pt idx="125">
                  <c:v>955</c:v>
                </c:pt>
                <c:pt idx="126">
                  <c:v>951</c:v>
                </c:pt>
                <c:pt idx="127">
                  <c:v>946</c:v>
                </c:pt>
                <c:pt idx="128">
                  <c:v>941</c:v>
                </c:pt>
                <c:pt idx="129">
                  <c:v>936</c:v>
                </c:pt>
                <c:pt idx="130">
                  <c:v>930</c:v>
                </c:pt>
                <c:pt idx="131">
                  <c:v>924</c:v>
                </c:pt>
                <c:pt idx="132">
                  <c:v>918</c:v>
                </c:pt>
                <c:pt idx="133">
                  <c:v>911</c:v>
                </c:pt>
                <c:pt idx="134">
                  <c:v>904</c:v>
                </c:pt>
                <c:pt idx="135">
                  <c:v>897</c:v>
                </c:pt>
                <c:pt idx="136">
                  <c:v>890</c:v>
                </c:pt>
                <c:pt idx="137">
                  <c:v>882</c:v>
                </c:pt>
                <c:pt idx="138">
                  <c:v>875</c:v>
                </c:pt>
                <c:pt idx="139">
                  <c:v>867</c:v>
                </c:pt>
                <c:pt idx="140">
                  <c:v>858</c:v>
                </c:pt>
                <c:pt idx="141">
                  <c:v>850</c:v>
                </c:pt>
                <c:pt idx="142">
                  <c:v>841</c:v>
                </c:pt>
                <c:pt idx="143">
                  <c:v>833</c:v>
                </c:pt>
                <c:pt idx="144">
                  <c:v>824</c:v>
                </c:pt>
                <c:pt idx="145">
                  <c:v>815</c:v>
                </c:pt>
                <c:pt idx="146">
                  <c:v>805</c:v>
                </c:pt>
                <c:pt idx="147">
                  <c:v>796</c:v>
                </c:pt>
                <c:pt idx="148">
                  <c:v>786</c:v>
                </c:pt>
                <c:pt idx="149">
                  <c:v>777</c:v>
                </c:pt>
                <c:pt idx="150">
                  <c:v>767</c:v>
                </c:pt>
                <c:pt idx="151">
                  <c:v>757</c:v>
                </c:pt>
                <c:pt idx="152">
                  <c:v>747</c:v>
                </c:pt>
                <c:pt idx="153">
                  <c:v>737</c:v>
                </c:pt>
                <c:pt idx="154">
                  <c:v>727</c:v>
                </c:pt>
                <c:pt idx="155">
                  <c:v>717</c:v>
                </c:pt>
                <c:pt idx="156">
                  <c:v>707</c:v>
                </c:pt>
                <c:pt idx="157">
                  <c:v>697</c:v>
                </c:pt>
                <c:pt idx="158">
                  <c:v>687</c:v>
                </c:pt>
                <c:pt idx="159">
                  <c:v>677</c:v>
                </c:pt>
                <c:pt idx="160">
                  <c:v>666</c:v>
                </c:pt>
                <c:pt idx="161">
                  <c:v>656</c:v>
                </c:pt>
                <c:pt idx="162">
                  <c:v>646</c:v>
                </c:pt>
                <c:pt idx="163">
                  <c:v>636</c:v>
                </c:pt>
                <c:pt idx="164">
                  <c:v>625</c:v>
                </c:pt>
                <c:pt idx="165">
                  <c:v>615</c:v>
                </c:pt>
                <c:pt idx="166">
                  <c:v>605</c:v>
                </c:pt>
                <c:pt idx="167">
                  <c:v>595</c:v>
                </c:pt>
                <c:pt idx="168">
                  <c:v>585</c:v>
                </c:pt>
                <c:pt idx="169">
                  <c:v>575</c:v>
                </c:pt>
                <c:pt idx="170">
                  <c:v>564</c:v>
                </c:pt>
                <c:pt idx="171">
                  <c:v>555</c:v>
                </c:pt>
                <c:pt idx="172">
                  <c:v>545</c:v>
                </c:pt>
                <c:pt idx="173">
                  <c:v>535</c:v>
                </c:pt>
                <c:pt idx="174">
                  <c:v>525</c:v>
                </c:pt>
                <c:pt idx="175">
                  <c:v>515</c:v>
                </c:pt>
                <c:pt idx="176">
                  <c:v>506</c:v>
                </c:pt>
                <c:pt idx="177">
                  <c:v>496</c:v>
                </c:pt>
                <c:pt idx="178">
                  <c:v>487</c:v>
                </c:pt>
                <c:pt idx="179">
                  <c:v>478</c:v>
                </c:pt>
                <c:pt idx="180">
                  <c:v>468</c:v>
                </c:pt>
                <c:pt idx="181">
                  <c:v>4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6DC-452D-A624-F32B0A03DBFC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833</c:v>
                </c:pt>
                <c:pt idx="89">
                  <c:v>835</c:v>
                </c:pt>
                <c:pt idx="90">
                  <c:v>832</c:v>
                </c:pt>
                <c:pt idx="91">
                  <c:v>826</c:v>
                </c:pt>
                <c:pt idx="92">
                  <c:v>819</c:v>
                </c:pt>
                <c:pt idx="93">
                  <c:v>811</c:v>
                </c:pt>
                <c:pt idx="94">
                  <c:v>801</c:v>
                </c:pt>
                <c:pt idx="95">
                  <c:v>792</c:v>
                </c:pt>
                <c:pt idx="96">
                  <c:v>782</c:v>
                </c:pt>
                <c:pt idx="97">
                  <c:v>771</c:v>
                </c:pt>
                <c:pt idx="98">
                  <c:v>761</c:v>
                </c:pt>
                <c:pt idx="99">
                  <c:v>749</c:v>
                </c:pt>
                <c:pt idx="100">
                  <c:v>738</c:v>
                </c:pt>
                <c:pt idx="101">
                  <c:v>727</c:v>
                </c:pt>
                <c:pt idx="102">
                  <c:v>715</c:v>
                </c:pt>
                <c:pt idx="103">
                  <c:v>704</c:v>
                </c:pt>
                <c:pt idx="104">
                  <c:v>692</c:v>
                </c:pt>
                <c:pt idx="105">
                  <c:v>680</c:v>
                </c:pt>
                <c:pt idx="106">
                  <c:v>668</c:v>
                </c:pt>
                <c:pt idx="107">
                  <c:v>656</c:v>
                </c:pt>
                <c:pt idx="108">
                  <c:v>645</c:v>
                </c:pt>
                <c:pt idx="109">
                  <c:v>633</c:v>
                </c:pt>
                <c:pt idx="110">
                  <c:v>621</c:v>
                </c:pt>
                <c:pt idx="111">
                  <c:v>609</c:v>
                </c:pt>
                <c:pt idx="112">
                  <c:v>598</c:v>
                </c:pt>
                <c:pt idx="113">
                  <c:v>586</c:v>
                </c:pt>
                <c:pt idx="114">
                  <c:v>575</c:v>
                </c:pt>
                <c:pt idx="115">
                  <c:v>563</c:v>
                </c:pt>
                <c:pt idx="116">
                  <c:v>552</c:v>
                </c:pt>
                <c:pt idx="117">
                  <c:v>541</c:v>
                </c:pt>
                <c:pt idx="118">
                  <c:v>530</c:v>
                </c:pt>
                <c:pt idx="119">
                  <c:v>519</c:v>
                </c:pt>
                <c:pt idx="120">
                  <c:v>508</c:v>
                </c:pt>
                <c:pt idx="121">
                  <c:v>498</c:v>
                </c:pt>
                <c:pt idx="122">
                  <c:v>487</c:v>
                </c:pt>
                <c:pt idx="123">
                  <c:v>477</c:v>
                </c:pt>
                <c:pt idx="124">
                  <c:v>467</c:v>
                </c:pt>
                <c:pt idx="125">
                  <c:v>457</c:v>
                </c:pt>
                <c:pt idx="126">
                  <c:v>447</c:v>
                </c:pt>
                <c:pt idx="127">
                  <c:v>437</c:v>
                </c:pt>
                <c:pt idx="128">
                  <c:v>428</c:v>
                </c:pt>
                <c:pt idx="129">
                  <c:v>418</c:v>
                </c:pt>
                <c:pt idx="130">
                  <c:v>409</c:v>
                </c:pt>
                <c:pt idx="131">
                  <c:v>400</c:v>
                </c:pt>
                <c:pt idx="132">
                  <c:v>391</c:v>
                </c:pt>
                <c:pt idx="133">
                  <c:v>382</c:v>
                </c:pt>
                <c:pt idx="134">
                  <c:v>373</c:v>
                </c:pt>
                <c:pt idx="135">
                  <c:v>365</c:v>
                </c:pt>
                <c:pt idx="136">
                  <c:v>356</c:v>
                </c:pt>
                <c:pt idx="137">
                  <c:v>348</c:v>
                </c:pt>
                <c:pt idx="138">
                  <c:v>340</c:v>
                </c:pt>
                <c:pt idx="139">
                  <c:v>332</c:v>
                </c:pt>
                <c:pt idx="140">
                  <c:v>325</c:v>
                </c:pt>
                <c:pt idx="141">
                  <c:v>317</c:v>
                </c:pt>
                <c:pt idx="142">
                  <c:v>309</c:v>
                </c:pt>
                <c:pt idx="143">
                  <c:v>302</c:v>
                </c:pt>
                <c:pt idx="144">
                  <c:v>295</c:v>
                </c:pt>
                <c:pt idx="145">
                  <c:v>288</c:v>
                </c:pt>
                <c:pt idx="146">
                  <c:v>281</c:v>
                </c:pt>
                <c:pt idx="147">
                  <c:v>274</c:v>
                </c:pt>
                <c:pt idx="148">
                  <c:v>268</c:v>
                </c:pt>
                <c:pt idx="149">
                  <c:v>261</c:v>
                </c:pt>
                <c:pt idx="150">
                  <c:v>255</c:v>
                </c:pt>
                <c:pt idx="151">
                  <c:v>249</c:v>
                </c:pt>
                <c:pt idx="152">
                  <c:v>243</c:v>
                </c:pt>
                <c:pt idx="153">
                  <c:v>237</c:v>
                </c:pt>
                <c:pt idx="154">
                  <c:v>231</c:v>
                </c:pt>
                <c:pt idx="155">
                  <c:v>225</c:v>
                </c:pt>
                <c:pt idx="156">
                  <c:v>220</c:v>
                </c:pt>
                <c:pt idx="157">
                  <c:v>214</c:v>
                </c:pt>
                <c:pt idx="158">
                  <c:v>209</c:v>
                </c:pt>
                <c:pt idx="159">
                  <c:v>204</c:v>
                </c:pt>
                <c:pt idx="160">
                  <c:v>199</c:v>
                </c:pt>
                <c:pt idx="161">
                  <c:v>194</c:v>
                </c:pt>
                <c:pt idx="162">
                  <c:v>189</c:v>
                </c:pt>
                <c:pt idx="163">
                  <c:v>184</c:v>
                </c:pt>
                <c:pt idx="164">
                  <c:v>180</c:v>
                </c:pt>
                <c:pt idx="165">
                  <c:v>175</c:v>
                </c:pt>
                <c:pt idx="166">
                  <c:v>171</c:v>
                </c:pt>
                <c:pt idx="167">
                  <c:v>166</c:v>
                </c:pt>
                <c:pt idx="168">
                  <c:v>162</c:v>
                </c:pt>
                <c:pt idx="169">
                  <c:v>158</c:v>
                </c:pt>
                <c:pt idx="170">
                  <c:v>154</c:v>
                </c:pt>
                <c:pt idx="171">
                  <c:v>150</c:v>
                </c:pt>
                <c:pt idx="172">
                  <c:v>146</c:v>
                </c:pt>
                <c:pt idx="173">
                  <c:v>143</c:v>
                </c:pt>
                <c:pt idx="174">
                  <c:v>139</c:v>
                </c:pt>
                <c:pt idx="175">
                  <c:v>135</c:v>
                </c:pt>
                <c:pt idx="176">
                  <c:v>132</c:v>
                </c:pt>
                <c:pt idx="177">
                  <c:v>129</c:v>
                </c:pt>
                <c:pt idx="178">
                  <c:v>125</c:v>
                </c:pt>
                <c:pt idx="179">
                  <c:v>122</c:v>
                </c:pt>
                <c:pt idx="180">
                  <c:v>119</c:v>
                </c:pt>
                <c:pt idx="181">
                  <c:v>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6DC-452D-A624-F32B0A03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87</c:v>
                </c:pt>
                <c:pt idx="1">
                  <c:v>179</c:v>
                </c:pt>
                <c:pt idx="2">
                  <c:v>219</c:v>
                </c:pt>
                <c:pt idx="3">
                  <c:v>293</c:v>
                </c:pt>
                <c:pt idx="4">
                  <c:v>118</c:v>
                </c:pt>
                <c:pt idx="5">
                  <c:v>48</c:v>
                </c:pt>
                <c:pt idx="6">
                  <c:v>238</c:v>
                </c:pt>
                <c:pt idx="7">
                  <c:v>345</c:v>
                </c:pt>
                <c:pt idx="8">
                  <c:v>354</c:v>
                </c:pt>
                <c:pt idx="9">
                  <c:v>426</c:v>
                </c:pt>
                <c:pt idx="10">
                  <c:v>396</c:v>
                </c:pt>
                <c:pt idx="11">
                  <c:v>129</c:v>
                </c:pt>
                <c:pt idx="12">
                  <c:v>85</c:v>
                </c:pt>
                <c:pt idx="13">
                  <c:v>288</c:v>
                </c:pt>
                <c:pt idx="14">
                  <c:v>414</c:v>
                </c:pt>
                <c:pt idx="15">
                  <c:v>484</c:v>
                </c:pt>
                <c:pt idx="16">
                  <c:v>403</c:v>
                </c:pt>
                <c:pt idx="17">
                  <c:v>441</c:v>
                </c:pt>
                <c:pt idx="18">
                  <c:v>260</c:v>
                </c:pt>
                <c:pt idx="19">
                  <c:v>135</c:v>
                </c:pt>
                <c:pt idx="20">
                  <c:v>373</c:v>
                </c:pt>
                <c:pt idx="21">
                  <c:v>559</c:v>
                </c:pt>
                <c:pt idx="22">
                  <c:v>692</c:v>
                </c:pt>
                <c:pt idx="23">
                  <c:v>213</c:v>
                </c:pt>
                <c:pt idx="24">
                  <c:v>67</c:v>
                </c:pt>
                <c:pt idx="25">
                  <c:v>157</c:v>
                </c:pt>
                <c:pt idx="26">
                  <c:v>233</c:v>
                </c:pt>
                <c:pt idx="27">
                  <c:v>622</c:v>
                </c:pt>
                <c:pt idx="28">
                  <c:v>859</c:v>
                </c:pt>
                <c:pt idx="29">
                  <c:v>891</c:v>
                </c:pt>
                <c:pt idx="30">
                  <c:v>813</c:v>
                </c:pt>
                <c:pt idx="31">
                  <c:v>134</c:v>
                </c:pt>
                <c:pt idx="32">
                  <c:v>266</c:v>
                </c:pt>
                <c:pt idx="33">
                  <c:v>441</c:v>
                </c:pt>
                <c:pt idx="34">
                  <c:v>877</c:v>
                </c:pt>
                <c:pt idx="35">
                  <c:v>944</c:v>
                </c:pt>
                <c:pt idx="36">
                  <c:v>1120</c:v>
                </c:pt>
                <c:pt idx="37">
                  <c:v>745</c:v>
                </c:pt>
                <c:pt idx="38">
                  <c:v>718</c:v>
                </c:pt>
                <c:pt idx="39">
                  <c:v>437</c:v>
                </c:pt>
                <c:pt idx="40">
                  <c:v>272</c:v>
                </c:pt>
                <c:pt idx="41">
                  <c:v>675</c:v>
                </c:pt>
                <c:pt idx="42">
                  <c:v>560</c:v>
                </c:pt>
                <c:pt idx="43">
                  <c:v>647</c:v>
                </c:pt>
                <c:pt idx="44">
                  <c:v>525</c:v>
                </c:pt>
                <c:pt idx="45">
                  <c:v>580</c:v>
                </c:pt>
                <c:pt idx="46">
                  <c:v>246</c:v>
                </c:pt>
                <c:pt idx="47">
                  <c:v>150</c:v>
                </c:pt>
                <c:pt idx="48">
                  <c:v>456</c:v>
                </c:pt>
                <c:pt idx="49">
                  <c:v>510</c:v>
                </c:pt>
                <c:pt idx="50">
                  <c:v>604</c:v>
                </c:pt>
                <c:pt idx="51">
                  <c:v>395</c:v>
                </c:pt>
                <c:pt idx="52">
                  <c:v>492</c:v>
                </c:pt>
                <c:pt idx="53">
                  <c:v>158</c:v>
                </c:pt>
                <c:pt idx="54">
                  <c:v>89</c:v>
                </c:pt>
                <c:pt idx="55">
                  <c:v>445</c:v>
                </c:pt>
                <c:pt idx="56">
                  <c:v>626</c:v>
                </c:pt>
                <c:pt idx="57">
                  <c:v>449</c:v>
                </c:pt>
                <c:pt idx="58">
                  <c:v>450</c:v>
                </c:pt>
                <c:pt idx="59">
                  <c:v>467</c:v>
                </c:pt>
                <c:pt idx="60">
                  <c:v>285</c:v>
                </c:pt>
                <c:pt idx="61">
                  <c:v>99</c:v>
                </c:pt>
                <c:pt idx="62">
                  <c:v>508</c:v>
                </c:pt>
                <c:pt idx="63">
                  <c:v>590</c:v>
                </c:pt>
                <c:pt idx="64">
                  <c:v>610</c:v>
                </c:pt>
                <c:pt idx="65">
                  <c:v>415</c:v>
                </c:pt>
                <c:pt idx="66">
                  <c:v>494</c:v>
                </c:pt>
                <c:pt idx="67">
                  <c:v>307</c:v>
                </c:pt>
                <c:pt idx="68">
                  <c:v>134</c:v>
                </c:pt>
                <c:pt idx="69">
                  <c:v>617</c:v>
                </c:pt>
                <c:pt idx="70">
                  <c:v>651</c:v>
                </c:pt>
                <c:pt idx="71">
                  <c:v>627</c:v>
                </c:pt>
                <c:pt idx="72">
                  <c:v>554</c:v>
                </c:pt>
                <c:pt idx="73">
                  <c:v>597</c:v>
                </c:pt>
                <c:pt idx="74">
                  <c:v>331</c:v>
                </c:pt>
                <c:pt idx="75">
                  <c:v>230</c:v>
                </c:pt>
                <c:pt idx="76">
                  <c:v>699</c:v>
                </c:pt>
                <c:pt idx="77">
                  <c:v>766</c:v>
                </c:pt>
                <c:pt idx="78">
                  <c:v>700</c:v>
                </c:pt>
                <c:pt idx="79">
                  <c:v>784</c:v>
                </c:pt>
                <c:pt idx="80">
                  <c:v>815</c:v>
                </c:pt>
                <c:pt idx="81">
                  <c:v>345</c:v>
                </c:pt>
                <c:pt idx="82">
                  <c:v>222</c:v>
                </c:pt>
                <c:pt idx="83">
                  <c:v>803</c:v>
                </c:pt>
                <c:pt idx="84">
                  <c:v>1054</c:v>
                </c:pt>
                <c:pt idx="85">
                  <c:v>1006</c:v>
                </c:pt>
                <c:pt idx="86">
                  <c:v>925</c:v>
                </c:pt>
                <c:pt idx="87">
                  <c:v>866</c:v>
                </c:pt>
                <c:pt idx="88">
                  <c:v>286</c:v>
                </c:pt>
                <c:pt idx="89">
                  <c:v>307</c:v>
                </c:pt>
                <c:pt idx="90">
                  <c:v>878</c:v>
                </c:pt>
                <c:pt idx="91">
                  <c:v>1056</c:v>
                </c:pt>
                <c:pt idx="92">
                  <c:v>1023</c:v>
                </c:pt>
                <c:pt idx="93">
                  <c:v>875</c:v>
                </c:pt>
                <c:pt idx="94">
                  <c:v>755</c:v>
                </c:pt>
                <c:pt idx="95">
                  <c:v>493</c:v>
                </c:pt>
                <c:pt idx="96">
                  <c:v>190</c:v>
                </c:pt>
                <c:pt idx="97">
                  <c:v>799</c:v>
                </c:pt>
                <c:pt idx="98">
                  <c:v>925</c:v>
                </c:pt>
                <c:pt idx="99">
                  <c:v>800</c:v>
                </c:pt>
                <c:pt idx="100">
                  <c:v>665</c:v>
                </c:pt>
                <c:pt idx="101">
                  <c:v>1145</c:v>
                </c:pt>
                <c:pt idx="102">
                  <c:v>302</c:v>
                </c:pt>
                <c:pt idx="103">
                  <c:v>183</c:v>
                </c:pt>
                <c:pt idx="104">
                  <c:v>779</c:v>
                </c:pt>
                <c:pt idx="105">
                  <c:v>825</c:v>
                </c:pt>
                <c:pt idx="106">
                  <c:v>704</c:v>
                </c:pt>
                <c:pt idx="107">
                  <c:v>574</c:v>
                </c:pt>
                <c:pt idx="108">
                  <c:v>601</c:v>
                </c:pt>
                <c:pt idx="109">
                  <c:v>237</c:v>
                </c:pt>
                <c:pt idx="110">
                  <c:v>145</c:v>
                </c:pt>
                <c:pt idx="111">
                  <c:v>541</c:v>
                </c:pt>
                <c:pt idx="112">
                  <c:v>712</c:v>
                </c:pt>
                <c:pt idx="113">
                  <c:v>472</c:v>
                </c:pt>
                <c:pt idx="114">
                  <c:v>505</c:v>
                </c:pt>
                <c:pt idx="115">
                  <c:v>441</c:v>
                </c:pt>
                <c:pt idx="116">
                  <c:v>134</c:v>
                </c:pt>
                <c:pt idx="117">
                  <c:v>57</c:v>
                </c:pt>
                <c:pt idx="118">
                  <c:v>414</c:v>
                </c:pt>
                <c:pt idx="119">
                  <c:v>539</c:v>
                </c:pt>
                <c:pt idx="120">
                  <c:v>417</c:v>
                </c:pt>
                <c:pt idx="121">
                  <c:v>435</c:v>
                </c:pt>
                <c:pt idx="122">
                  <c:v>223</c:v>
                </c:pt>
                <c:pt idx="123">
                  <c:v>137</c:v>
                </c:pt>
                <c:pt idx="124">
                  <c:v>77</c:v>
                </c:pt>
                <c:pt idx="125">
                  <c:v>89</c:v>
                </c:pt>
                <c:pt idx="126">
                  <c:v>427</c:v>
                </c:pt>
                <c:pt idx="127">
                  <c:v>451</c:v>
                </c:pt>
                <c:pt idx="128">
                  <c:v>265</c:v>
                </c:pt>
                <c:pt idx="129">
                  <c:v>323</c:v>
                </c:pt>
                <c:pt idx="130">
                  <c:v>74</c:v>
                </c:pt>
                <c:pt idx="131">
                  <c:v>38</c:v>
                </c:pt>
                <c:pt idx="132">
                  <c:v>218</c:v>
                </c:pt>
                <c:pt idx="133">
                  <c:v>359</c:v>
                </c:pt>
                <c:pt idx="134">
                  <c:v>178</c:v>
                </c:pt>
                <c:pt idx="135">
                  <c:v>168</c:v>
                </c:pt>
                <c:pt idx="136">
                  <c:v>170</c:v>
                </c:pt>
                <c:pt idx="137">
                  <c:v>76</c:v>
                </c:pt>
                <c:pt idx="138">
                  <c:v>36</c:v>
                </c:pt>
                <c:pt idx="139">
                  <c:v>195</c:v>
                </c:pt>
                <c:pt idx="140">
                  <c:v>180</c:v>
                </c:pt>
                <c:pt idx="141">
                  <c:v>172</c:v>
                </c:pt>
                <c:pt idx="142">
                  <c:v>97</c:v>
                </c:pt>
                <c:pt idx="143">
                  <c:v>135</c:v>
                </c:pt>
                <c:pt idx="144">
                  <c:v>31</c:v>
                </c:pt>
                <c:pt idx="145">
                  <c:v>27</c:v>
                </c:pt>
                <c:pt idx="146">
                  <c:v>150</c:v>
                </c:pt>
                <c:pt idx="147">
                  <c:v>121</c:v>
                </c:pt>
                <c:pt idx="148">
                  <c:v>78</c:v>
                </c:pt>
                <c:pt idx="149">
                  <c:v>88</c:v>
                </c:pt>
                <c:pt idx="150">
                  <c:v>79</c:v>
                </c:pt>
                <c:pt idx="151">
                  <c:v>19</c:v>
                </c:pt>
                <c:pt idx="152">
                  <c:v>17</c:v>
                </c:pt>
                <c:pt idx="153">
                  <c:v>138</c:v>
                </c:pt>
                <c:pt idx="154">
                  <c:v>67</c:v>
                </c:pt>
                <c:pt idx="155">
                  <c:v>91</c:v>
                </c:pt>
                <c:pt idx="156">
                  <c:v>49</c:v>
                </c:pt>
                <c:pt idx="157">
                  <c:v>52</c:v>
                </c:pt>
                <c:pt idx="158">
                  <c:v>19</c:v>
                </c:pt>
                <c:pt idx="159">
                  <c:v>17</c:v>
                </c:pt>
                <c:pt idx="160">
                  <c:v>64</c:v>
                </c:pt>
                <c:pt idx="161">
                  <c:v>72</c:v>
                </c:pt>
                <c:pt idx="162">
                  <c:v>50</c:v>
                </c:pt>
                <c:pt idx="163">
                  <c:v>45</c:v>
                </c:pt>
                <c:pt idx="164">
                  <c:v>43</c:v>
                </c:pt>
                <c:pt idx="165">
                  <c:v>1</c:v>
                </c:pt>
                <c:pt idx="166">
                  <c:v>11</c:v>
                </c:pt>
                <c:pt idx="167">
                  <c:v>44</c:v>
                </c:pt>
                <c:pt idx="168">
                  <c:v>56</c:v>
                </c:pt>
                <c:pt idx="169">
                  <c:v>22</c:v>
                </c:pt>
                <c:pt idx="170">
                  <c:v>19</c:v>
                </c:pt>
                <c:pt idx="171">
                  <c:v>25</c:v>
                </c:pt>
                <c:pt idx="172">
                  <c:v>3</c:v>
                </c:pt>
                <c:pt idx="173">
                  <c:v>2</c:v>
                </c:pt>
                <c:pt idx="174">
                  <c:v>22</c:v>
                </c:pt>
                <c:pt idx="175">
                  <c:v>28</c:v>
                </c:pt>
                <c:pt idx="176">
                  <c:v>10</c:v>
                </c:pt>
                <c:pt idx="177">
                  <c:v>11</c:v>
                </c:pt>
                <c:pt idx="178">
                  <c:v>9</c:v>
                </c:pt>
                <c:pt idx="179">
                  <c:v>6</c:v>
                </c:pt>
                <c:pt idx="18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760</c:v>
                </c:pt>
                <c:pt idx="89">
                  <c:v>760</c:v>
                </c:pt>
                <c:pt idx="90">
                  <c:v>756</c:v>
                </c:pt>
                <c:pt idx="91">
                  <c:v>748</c:v>
                </c:pt>
                <c:pt idx="92">
                  <c:v>740</c:v>
                </c:pt>
                <c:pt idx="93">
                  <c:v>730</c:v>
                </c:pt>
                <c:pt idx="94">
                  <c:v>720</c:v>
                </c:pt>
                <c:pt idx="95">
                  <c:v>709</c:v>
                </c:pt>
                <c:pt idx="96">
                  <c:v>698</c:v>
                </c:pt>
                <c:pt idx="97">
                  <c:v>687</c:v>
                </c:pt>
                <c:pt idx="98">
                  <c:v>675</c:v>
                </c:pt>
                <c:pt idx="99">
                  <c:v>663</c:v>
                </c:pt>
                <c:pt idx="100">
                  <c:v>651</c:v>
                </c:pt>
                <c:pt idx="101">
                  <c:v>638</c:v>
                </c:pt>
                <c:pt idx="102">
                  <c:v>626</c:v>
                </c:pt>
                <c:pt idx="103">
                  <c:v>613</c:v>
                </c:pt>
                <c:pt idx="104">
                  <c:v>600</c:v>
                </c:pt>
                <c:pt idx="105">
                  <c:v>588</c:v>
                </c:pt>
                <c:pt idx="106">
                  <c:v>575</c:v>
                </c:pt>
                <c:pt idx="107">
                  <c:v>562</c:v>
                </c:pt>
                <c:pt idx="108">
                  <c:v>549</c:v>
                </c:pt>
                <c:pt idx="109">
                  <c:v>536</c:v>
                </c:pt>
                <c:pt idx="110">
                  <c:v>523</c:v>
                </c:pt>
                <c:pt idx="111">
                  <c:v>511</c:v>
                </c:pt>
                <c:pt idx="112">
                  <c:v>498</c:v>
                </c:pt>
                <c:pt idx="113">
                  <c:v>486</c:v>
                </c:pt>
                <c:pt idx="114">
                  <c:v>473</c:v>
                </c:pt>
                <c:pt idx="115">
                  <c:v>461</c:v>
                </c:pt>
                <c:pt idx="116">
                  <c:v>449</c:v>
                </c:pt>
                <c:pt idx="117">
                  <c:v>437</c:v>
                </c:pt>
                <c:pt idx="118">
                  <c:v>425</c:v>
                </c:pt>
                <c:pt idx="119">
                  <c:v>414</c:v>
                </c:pt>
                <c:pt idx="120">
                  <c:v>403</c:v>
                </c:pt>
                <c:pt idx="121">
                  <c:v>392</c:v>
                </c:pt>
                <c:pt idx="122">
                  <c:v>381</c:v>
                </c:pt>
                <c:pt idx="123">
                  <c:v>370</c:v>
                </c:pt>
                <c:pt idx="124">
                  <c:v>360</c:v>
                </c:pt>
                <c:pt idx="125">
                  <c:v>350</c:v>
                </c:pt>
                <c:pt idx="126">
                  <c:v>340</c:v>
                </c:pt>
                <c:pt idx="127">
                  <c:v>330</c:v>
                </c:pt>
                <c:pt idx="128">
                  <c:v>321</c:v>
                </c:pt>
                <c:pt idx="129">
                  <c:v>312</c:v>
                </c:pt>
                <c:pt idx="130">
                  <c:v>303</c:v>
                </c:pt>
                <c:pt idx="131">
                  <c:v>294</c:v>
                </c:pt>
                <c:pt idx="132">
                  <c:v>285</c:v>
                </c:pt>
                <c:pt idx="133">
                  <c:v>277</c:v>
                </c:pt>
                <c:pt idx="134">
                  <c:v>268</c:v>
                </c:pt>
                <c:pt idx="135">
                  <c:v>260</c:v>
                </c:pt>
                <c:pt idx="136">
                  <c:v>252</c:v>
                </c:pt>
                <c:pt idx="137">
                  <c:v>244</c:v>
                </c:pt>
                <c:pt idx="138">
                  <c:v>236</c:v>
                </c:pt>
                <c:pt idx="139">
                  <c:v>229</c:v>
                </c:pt>
                <c:pt idx="140">
                  <c:v>222</c:v>
                </c:pt>
                <c:pt idx="141">
                  <c:v>214</c:v>
                </c:pt>
                <c:pt idx="142">
                  <c:v>208</c:v>
                </c:pt>
                <c:pt idx="143">
                  <c:v>201</c:v>
                </c:pt>
                <c:pt idx="144">
                  <c:v>194</c:v>
                </c:pt>
                <c:pt idx="145">
                  <c:v>188</c:v>
                </c:pt>
                <c:pt idx="146">
                  <c:v>181</c:v>
                </c:pt>
                <c:pt idx="147">
                  <c:v>175</c:v>
                </c:pt>
                <c:pt idx="148">
                  <c:v>170</c:v>
                </c:pt>
                <c:pt idx="149">
                  <c:v>164</c:v>
                </c:pt>
                <c:pt idx="150">
                  <c:v>158</c:v>
                </c:pt>
                <c:pt idx="151">
                  <c:v>153</c:v>
                </c:pt>
                <c:pt idx="152">
                  <c:v>148</c:v>
                </c:pt>
                <c:pt idx="153">
                  <c:v>143</c:v>
                </c:pt>
                <c:pt idx="154">
                  <c:v>138</c:v>
                </c:pt>
                <c:pt idx="155">
                  <c:v>133</c:v>
                </c:pt>
                <c:pt idx="156">
                  <c:v>128</c:v>
                </c:pt>
                <c:pt idx="157">
                  <c:v>124</c:v>
                </c:pt>
                <c:pt idx="158">
                  <c:v>120</c:v>
                </c:pt>
                <c:pt idx="159">
                  <c:v>115</c:v>
                </c:pt>
                <c:pt idx="160">
                  <c:v>111</c:v>
                </c:pt>
                <c:pt idx="161">
                  <c:v>107</c:v>
                </c:pt>
                <c:pt idx="162">
                  <c:v>102</c:v>
                </c:pt>
                <c:pt idx="163">
                  <c:v>98</c:v>
                </c:pt>
                <c:pt idx="164">
                  <c:v>94</c:v>
                </c:pt>
                <c:pt idx="165">
                  <c:v>90</c:v>
                </c:pt>
                <c:pt idx="166">
                  <c:v>86</c:v>
                </c:pt>
                <c:pt idx="167">
                  <c:v>82</c:v>
                </c:pt>
                <c:pt idx="168">
                  <c:v>78</c:v>
                </c:pt>
                <c:pt idx="169">
                  <c:v>74</c:v>
                </c:pt>
                <c:pt idx="170">
                  <c:v>70</c:v>
                </c:pt>
                <c:pt idx="171">
                  <c:v>66</c:v>
                </c:pt>
                <c:pt idx="172">
                  <c:v>63</c:v>
                </c:pt>
                <c:pt idx="173">
                  <c:v>60</c:v>
                </c:pt>
                <c:pt idx="174">
                  <c:v>57</c:v>
                </c:pt>
                <c:pt idx="175">
                  <c:v>54</c:v>
                </c:pt>
                <c:pt idx="176">
                  <c:v>51</c:v>
                </c:pt>
                <c:pt idx="177">
                  <c:v>48</c:v>
                </c:pt>
                <c:pt idx="178">
                  <c:v>45</c:v>
                </c:pt>
                <c:pt idx="179">
                  <c:v>43</c:v>
                </c:pt>
                <c:pt idx="180">
                  <c:v>41</c:v>
                </c:pt>
                <c:pt idx="181">
                  <c:v>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833</c:v>
                </c:pt>
                <c:pt idx="89">
                  <c:v>835</c:v>
                </c:pt>
                <c:pt idx="90">
                  <c:v>832</c:v>
                </c:pt>
                <c:pt idx="91">
                  <c:v>826</c:v>
                </c:pt>
                <c:pt idx="92">
                  <c:v>819</c:v>
                </c:pt>
                <c:pt idx="93">
                  <c:v>811</c:v>
                </c:pt>
                <c:pt idx="94">
                  <c:v>801</c:v>
                </c:pt>
                <c:pt idx="95">
                  <c:v>792</c:v>
                </c:pt>
                <c:pt idx="96">
                  <c:v>782</c:v>
                </c:pt>
                <c:pt idx="97">
                  <c:v>771</c:v>
                </c:pt>
                <c:pt idx="98">
                  <c:v>761</c:v>
                </c:pt>
                <c:pt idx="99">
                  <c:v>749</c:v>
                </c:pt>
                <c:pt idx="100">
                  <c:v>738</c:v>
                </c:pt>
                <c:pt idx="101">
                  <c:v>727</c:v>
                </c:pt>
                <c:pt idx="102">
                  <c:v>715</c:v>
                </c:pt>
                <c:pt idx="103">
                  <c:v>704</c:v>
                </c:pt>
                <c:pt idx="104">
                  <c:v>692</c:v>
                </c:pt>
                <c:pt idx="105">
                  <c:v>680</c:v>
                </c:pt>
                <c:pt idx="106">
                  <c:v>668</c:v>
                </c:pt>
                <c:pt idx="107">
                  <c:v>656</c:v>
                </c:pt>
                <c:pt idx="108">
                  <c:v>645</c:v>
                </c:pt>
                <c:pt idx="109">
                  <c:v>633</c:v>
                </c:pt>
                <c:pt idx="110">
                  <c:v>621</c:v>
                </c:pt>
                <c:pt idx="111">
                  <c:v>609</c:v>
                </c:pt>
                <c:pt idx="112">
                  <c:v>598</c:v>
                </c:pt>
                <c:pt idx="113">
                  <c:v>586</c:v>
                </c:pt>
                <c:pt idx="114">
                  <c:v>575</c:v>
                </c:pt>
                <c:pt idx="115">
                  <c:v>563</c:v>
                </c:pt>
                <c:pt idx="116">
                  <c:v>552</c:v>
                </c:pt>
                <c:pt idx="117">
                  <c:v>541</c:v>
                </c:pt>
                <c:pt idx="118">
                  <c:v>530</c:v>
                </c:pt>
                <c:pt idx="119">
                  <c:v>519</c:v>
                </c:pt>
                <c:pt idx="120">
                  <c:v>508</c:v>
                </c:pt>
                <c:pt idx="121">
                  <c:v>498</c:v>
                </c:pt>
                <c:pt idx="122">
                  <c:v>487</c:v>
                </c:pt>
                <c:pt idx="123">
                  <c:v>477</c:v>
                </c:pt>
                <c:pt idx="124">
                  <c:v>467</c:v>
                </c:pt>
                <c:pt idx="125">
                  <c:v>457</c:v>
                </c:pt>
                <c:pt idx="126">
                  <c:v>447</c:v>
                </c:pt>
                <c:pt idx="127">
                  <c:v>437</c:v>
                </c:pt>
                <c:pt idx="128">
                  <c:v>428</c:v>
                </c:pt>
                <c:pt idx="129">
                  <c:v>418</c:v>
                </c:pt>
                <c:pt idx="130">
                  <c:v>409</c:v>
                </c:pt>
                <c:pt idx="131">
                  <c:v>400</c:v>
                </c:pt>
                <c:pt idx="132">
                  <c:v>391</c:v>
                </c:pt>
                <c:pt idx="133">
                  <c:v>382</c:v>
                </c:pt>
                <c:pt idx="134">
                  <c:v>373</c:v>
                </c:pt>
                <c:pt idx="135">
                  <c:v>365</c:v>
                </c:pt>
                <c:pt idx="136">
                  <c:v>356</c:v>
                </c:pt>
                <c:pt idx="137">
                  <c:v>348</c:v>
                </c:pt>
                <c:pt idx="138">
                  <c:v>340</c:v>
                </c:pt>
                <c:pt idx="139">
                  <c:v>332</c:v>
                </c:pt>
                <c:pt idx="140">
                  <c:v>325</c:v>
                </c:pt>
                <c:pt idx="141">
                  <c:v>317</c:v>
                </c:pt>
                <c:pt idx="142">
                  <c:v>309</c:v>
                </c:pt>
                <c:pt idx="143">
                  <c:v>302</c:v>
                </c:pt>
                <c:pt idx="144">
                  <c:v>295</c:v>
                </c:pt>
                <c:pt idx="145">
                  <c:v>288</c:v>
                </c:pt>
                <c:pt idx="146">
                  <c:v>281</c:v>
                </c:pt>
                <c:pt idx="147">
                  <c:v>274</c:v>
                </c:pt>
                <c:pt idx="148">
                  <c:v>268</c:v>
                </c:pt>
                <c:pt idx="149">
                  <c:v>261</c:v>
                </c:pt>
                <c:pt idx="150">
                  <c:v>255</c:v>
                </c:pt>
                <c:pt idx="151">
                  <c:v>249</c:v>
                </c:pt>
                <c:pt idx="152">
                  <c:v>243</c:v>
                </c:pt>
                <c:pt idx="153">
                  <c:v>237</c:v>
                </c:pt>
                <c:pt idx="154">
                  <c:v>231</c:v>
                </c:pt>
                <c:pt idx="155">
                  <c:v>225</c:v>
                </c:pt>
                <c:pt idx="156">
                  <c:v>220</c:v>
                </c:pt>
                <c:pt idx="157">
                  <c:v>214</c:v>
                </c:pt>
                <c:pt idx="158">
                  <c:v>209</c:v>
                </c:pt>
                <c:pt idx="159">
                  <c:v>204</c:v>
                </c:pt>
                <c:pt idx="160">
                  <c:v>199</c:v>
                </c:pt>
                <c:pt idx="161">
                  <c:v>194</c:v>
                </c:pt>
                <c:pt idx="162">
                  <c:v>189</c:v>
                </c:pt>
                <c:pt idx="163">
                  <c:v>184</c:v>
                </c:pt>
                <c:pt idx="164">
                  <c:v>180</c:v>
                </c:pt>
                <c:pt idx="165">
                  <c:v>175</c:v>
                </c:pt>
                <c:pt idx="166">
                  <c:v>171</c:v>
                </c:pt>
                <c:pt idx="167">
                  <c:v>166</c:v>
                </c:pt>
                <c:pt idx="168">
                  <c:v>162</c:v>
                </c:pt>
                <c:pt idx="169">
                  <c:v>158</c:v>
                </c:pt>
                <c:pt idx="170">
                  <c:v>154</c:v>
                </c:pt>
                <c:pt idx="171">
                  <c:v>150</c:v>
                </c:pt>
                <c:pt idx="172">
                  <c:v>146</c:v>
                </c:pt>
                <c:pt idx="173">
                  <c:v>143</c:v>
                </c:pt>
                <c:pt idx="174">
                  <c:v>139</c:v>
                </c:pt>
                <c:pt idx="175">
                  <c:v>135</c:v>
                </c:pt>
                <c:pt idx="176">
                  <c:v>132</c:v>
                </c:pt>
                <c:pt idx="177">
                  <c:v>129</c:v>
                </c:pt>
                <c:pt idx="178">
                  <c:v>125</c:v>
                </c:pt>
                <c:pt idx="179">
                  <c:v>122</c:v>
                </c:pt>
                <c:pt idx="180">
                  <c:v>119</c:v>
                </c:pt>
                <c:pt idx="181">
                  <c:v>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5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8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2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6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6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9</c:v>
                </c:pt>
                <c:pt idx="64">
                  <c:v>9667</c:v>
                </c:pt>
                <c:pt idx="65">
                  <c:v>8108</c:v>
                </c:pt>
                <c:pt idx="66">
                  <c:v>8623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2</c:v>
                </c:pt>
                <c:pt idx="71">
                  <c:v>9539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1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9</c:v>
                </c:pt>
                <c:pt idx="92">
                  <c:v>15238</c:v>
                </c:pt>
                <c:pt idx="93">
                  <c:v>14650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9</c:v>
                </c:pt>
                <c:pt idx="99">
                  <c:v>14537</c:v>
                </c:pt>
                <c:pt idx="100">
                  <c:v>11245</c:v>
                </c:pt>
                <c:pt idx="101">
                  <c:v>14961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1</c:v>
                </c:pt>
                <c:pt idx="111">
                  <c:v>8239</c:v>
                </c:pt>
                <c:pt idx="112">
                  <c:v>10968</c:v>
                </c:pt>
                <c:pt idx="113">
                  <c:v>8848</c:v>
                </c:pt>
                <c:pt idx="114">
                  <c:v>7926</c:v>
                </c:pt>
                <c:pt idx="115">
                  <c:v>7712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3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3</c:v>
                </c:pt>
                <c:pt idx="127">
                  <c:v>7052</c:v>
                </c:pt>
                <c:pt idx="128">
                  <c:v>5282</c:v>
                </c:pt>
                <c:pt idx="129">
                  <c:v>4818</c:v>
                </c:pt>
                <c:pt idx="130">
                  <c:v>2204</c:v>
                </c:pt>
                <c:pt idx="131">
                  <c:v>985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7</c:v>
                </c:pt>
                <c:pt idx="137">
                  <c:v>1541</c:v>
                </c:pt>
                <c:pt idx="138">
                  <c:v>833</c:v>
                </c:pt>
                <c:pt idx="139">
                  <c:v>3341</c:v>
                </c:pt>
                <c:pt idx="140">
                  <c:v>3815</c:v>
                </c:pt>
                <c:pt idx="141">
                  <c:v>2951</c:v>
                </c:pt>
                <c:pt idx="142">
                  <c:v>2628</c:v>
                </c:pt>
                <c:pt idx="143">
                  <c:v>2601</c:v>
                </c:pt>
                <c:pt idx="144">
                  <c:v>1307</c:v>
                </c:pt>
                <c:pt idx="145">
                  <c:v>825</c:v>
                </c:pt>
                <c:pt idx="146">
                  <c:v>2579</c:v>
                </c:pt>
                <c:pt idx="147">
                  <c:v>3238</c:v>
                </c:pt>
                <c:pt idx="148">
                  <c:v>2487</c:v>
                </c:pt>
                <c:pt idx="149">
                  <c:v>2228</c:v>
                </c:pt>
                <c:pt idx="150">
                  <c:v>2166</c:v>
                </c:pt>
                <c:pt idx="151">
                  <c:v>1171</c:v>
                </c:pt>
                <c:pt idx="152">
                  <c:v>508</c:v>
                </c:pt>
                <c:pt idx="153">
                  <c:v>2217</c:v>
                </c:pt>
                <c:pt idx="154">
                  <c:v>2416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4</c:v>
                </c:pt>
                <c:pt idx="159">
                  <c:v>384</c:v>
                </c:pt>
                <c:pt idx="160">
                  <c:v>1544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6</c:v>
                </c:pt>
                <c:pt idx="167">
                  <c:v>1131</c:v>
                </c:pt>
                <c:pt idx="168">
                  <c:v>1199</c:v>
                </c:pt>
                <c:pt idx="169">
                  <c:v>777</c:v>
                </c:pt>
                <c:pt idx="170">
                  <c:v>684</c:v>
                </c:pt>
                <c:pt idx="171">
                  <c:v>672</c:v>
                </c:pt>
                <c:pt idx="172">
                  <c:v>335</c:v>
                </c:pt>
                <c:pt idx="173">
                  <c:v>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87</c:v>
                </c:pt>
                <c:pt idx="1">
                  <c:v>179</c:v>
                </c:pt>
                <c:pt idx="2">
                  <c:v>219</c:v>
                </c:pt>
                <c:pt idx="3">
                  <c:v>293</c:v>
                </c:pt>
                <c:pt idx="4">
                  <c:v>118</c:v>
                </c:pt>
                <c:pt idx="5">
                  <c:v>48</c:v>
                </c:pt>
                <c:pt idx="6">
                  <c:v>238</c:v>
                </c:pt>
                <c:pt idx="7">
                  <c:v>345</c:v>
                </c:pt>
                <c:pt idx="8">
                  <c:v>354</c:v>
                </c:pt>
                <c:pt idx="9">
                  <c:v>426</c:v>
                </c:pt>
                <c:pt idx="10">
                  <c:v>396</c:v>
                </c:pt>
                <c:pt idx="11">
                  <c:v>129</c:v>
                </c:pt>
                <c:pt idx="12">
                  <c:v>85</c:v>
                </c:pt>
                <c:pt idx="13">
                  <c:v>288</c:v>
                </c:pt>
                <c:pt idx="14">
                  <c:v>414</c:v>
                </c:pt>
                <c:pt idx="15">
                  <c:v>484</c:v>
                </c:pt>
                <c:pt idx="16">
                  <c:v>403</c:v>
                </c:pt>
                <c:pt idx="17">
                  <c:v>441</c:v>
                </c:pt>
                <c:pt idx="18">
                  <c:v>260</c:v>
                </c:pt>
                <c:pt idx="19">
                  <c:v>135</c:v>
                </c:pt>
                <c:pt idx="20">
                  <c:v>373</c:v>
                </c:pt>
                <c:pt idx="21">
                  <c:v>559</c:v>
                </c:pt>
                <c:pt idx="22">
                  <c:v>692</c:v>
                </c:pt>
                <c:pt idx="23">
                  <c:v>213</c:v>
                </c:pt>
                <c:pt idx="24">
                  <c:v>67</c:v>
                </c:pt>
                <c:pt idx="25">
                  <c:v>157</c:v>
                </c:pt>
                <c:pt idx="26">
                  <c:v>233</c:v>
                </c:pt>
                <c:pt idx="27">
                  <c:v>622</c:v>
                </c:pt>
                <c:pt idx="28">
                  <c:v>859</c:v>
                </c:pt>
                <c:pt idx="29">
                  <c:v>891</c:v>
                </c:pt>
                <c:pt idx="30">
                  <c:v>813</c:v>
                </c:pt>
                <c:pt idx="31">
                  <c:v>134</c:v>
                </c:pt>
                <c:pt idx="32">
                  <c:v>266</c:v>
                </c:pt>
                <c:pt idx="33">
                  <c:v>441</c:v>
                </c:pt>
                <c:pt idx="34">
                  <c:v>877</c:v>
                </c:pt>
                <c:pt idx="35">
                  <c:v>944</c:v>
                </c:pt>
                <c:pt idx="36">
                  <c:v>1120</c:v>
                </c:pt>
                <c:pt idx="37">
                  <c:v>745</c:v>
                </c:pt>
                <c:pt idx="38">
                  <c:v>718</c:v>
                </c:pt>
                <c:pt idx="39">
                  <c:v>437</c:v>
                </c:pt>
                <c:pt idx="40">
                  <c:v>272</c:v>
                </c:pt>
                <c:pt idx="41">
                  <c:v>675</c:v>
                </c:pt>
                <c:pt idx="42">
                  <c:v>560</c:v>
                </c:pt>
                <c:pt idx="43">
                  <c:v>647</c:v>
                </c:pt>
                <c:pt idx="44">
                  <c:v>525</c:v>
                </c:pt>
                <c:pt idx="45">
                  <c:v>580</c:v>
                </c:pt>
                <c:pt idx="46">
                  <c:v>246</c:v>
                </c:pt>
                <c:pt idx="47">
                  <c:v>150</c:v>
                </c:pt>
                <c:pt idx="48">
                  <c:v>456</c:v>
                </c:pt>
                <c:pt idx="49">
                  <c:v>510</c:v>
                </c:pt>
                <c:pt idx="50">
                  <c:v>604</c:v>
                </c:pt>
                <c:pt idx="51">
                  <c:v>395</c:v>
                </c:pt>
                <c:pt idx="52">
                  <c:v>492</c:v>
                </c:pt>
                <c:pt idx="53">
                  <c:v>158</c:v>
                </c:pt>
                <c:pt idx="54">
                  <c:v>89</c:v>
                </c:pt>
                <c:pt idx="55">
                  <c:v>445</c:v>
                </c:pt>
                <c:pt idx="56">
                  <c:v>626</c:v>
                </c:pt>
                <c:pt idx="57">
                  <c:v>449</c:v>
                </c:pt>
                <c:pt idx="58">
                  <c:v>450</c:v>
                </c:pt>
                <c:pt idx="59">
                  <c:v>467</c:v>
                </c:pt>
                <c:pt idx="60">
                  <c:v>285</c:v>
                </c:pt>
                <c:pt idx="61">
                  <c:v>99</c:v>
                </c:pt>
                <c:pt idx="62">
                  <c:v>508</c:v>
                </c:pt>
                <c:pt idx="63">
                  <c:v>590</c:v>
                </c:pt>
                <c:pt idx="64">
                  <c:v>610</c:v>
                </c:pt>
                <c:pt idx="65">
                  <c:v>415</c:v>
                </c:pt>
                <c:pt idx="66">
                  <c:v>494</c:v>
                </c:pt>
                <c:pt idx="67">
                  <c:v>307</c:v>
                </c:pt>
                <c:pt idx="68">
                  <c:v>134</c:v>
                </c:pt>
                <c:pt idx="69">
                  <c:v>617</c:v>
                </c:pt>
                <c:pt idx="70">
                  <c:v>651</c:v>
                </c:pt>
                <c:pt idx="71">
                  <c:v>627</c:v>
                </c:pt>
                <c:pt idx="72">
                  <c:v>554</c:v>
                </c:pt>
                <c:pt idx="73">
                  <c:v>597</c:v>
                </c:pt>
                <c:pt idx="74">
                  <c:v>331</c:v>
                </c:pt>
                <c:pt idx="75">
                  <c:v>230</c:v>
                </c:pt>
                <c:pt idx="76">
                  <c:v>699</c:v>
                </c:pt>
                <c:pt idx="77">
                  <c:v>766</c:v>
                </c:pt>
                <c:pt idx="78">
                  <c:v>700</c:v>
                </c:pt>
                <c:pt idx="79">
                  <c:v>784</c:v>
                </c:pt>
                <c:pt idx="80">
                  <c:v>815</c:v>
                </c:pt>
                <c:pt idx="81">
                  <c:v>345</c:v>
                </c:pt>
                <c:pt idx="82">
                  <c:v>222</c:v>
                </c:pt>
                <c:pt idx="83">
                  <c:v>803</c:v>
                </c:pt>
                <c:pt idx="84">
                  <c:v>1054</c:v>
                </c:pt>
                <c:pt idx="85">
                  <c:v>1006</c:v>
                </c:pt>
                <c:pt idx="86">
                  <c:v>925</c:v>
                </c:pt>
                <c:pt idx="87">
                  <c:v>866</c:v>
                </c:pt>
                <c:pt idx="88">
                  <c:v>286</c:v>
                </c:pt>
                <c:pt idx="89">
                  <c:v>307</c:v>
                </c:pt>
                <c:pt idx="90">
                  <c:v>878</c:v>
                </c:pt>
                <c:pt idx="91">
                  <c:v>1056</c:v>
                </c:pt>
                <c:pt idx="92">
                  <c:v>1023</c:v>
                </c:pt>
                <c:pt idx="93">
                  <c:v>875</c:v>
                </c:pt>
                <c:pt idx="94">
                  <c:v>755</c:v>
                </c:pt>
                <c:pt idx="95">
                  <c:v>493</c:v>
                </c:pt>
                <c:pt idx="96">
                  <c:v>190</c:v>
                </c:pt>
                <c:pt idx="97">
                  <c:v>799</c:v>
                </c:pt>
                <c:pt idx="98">
                  <c:v>925</c:v>
                </c:pt>
                <c:pt idx="99">
                  <c:v>800</c:v>
                </c:pt>
                <c:pt idx="100">
                  <c:v>665</c:v>
                </c:pt>
                <c:pt idx="101">
                  <c:v>1145</c:v>
                </c:pt>
                <c:pt idx="102">
                  <c:v>302</c:v>
                </c:pt>
                <c:pt idx="103">
                  <c:v>183</c:v>
                </c:pt>
                <c:pt idx="104">
                  <c:v>779</c:v>
                </c:pt>
                <c:pt idx="105">
                  <c:v>825</c:v>
                </c:pt>
                <c:pt idx="106">
                  <c:v>704</c:v>
                </c:pt>
                <c:pt idx="107">
                  <c:v>574</c:v>
                </c:pt>
                <c:pt idx="108">
                  <c:v>601</c:v>
                </c:pt>
                <c:pt idx="109">
                  <c:v>237</c:v>
                </c:pt>
                <c:pt idx="110">
                  <c:v>145</c:v>
                </c:pt>
                <c:pt idx="111">
                  <c:v>541</c:v>
                </c:pt>
                <c:pt idx="112">
                  <c:v>712</c:v>
                </c:pt>
                <c:pt idx="113">
                  <c:v>472</c:v>
                </c:pt>
                <c:pt idx="114">
                  <c:v>505</c:v>
                </c:pt>
                <c:pt idx="115">
                  <c:v>441</c:v>
                </c:pt>
                <c:pt idx="116">
                  <c:v>134</c:v>
                </c:pt>
                <c:pt idx="117">
                  <c:v>57</c:v>
                </c:pt>
                <c:pt idx="118">
                  <c:v>414</c:v>
                </c:pt>
                <c:pt idx="119">
                  <c:v>539</c:v>
                </c:pt>
                <c:pt idx="120">
                  <c:v>417</c:v>
                </c:pt>
                <c:pt idx="121">
                  <c:v>435</c:v>
                </c:pt>
                <c:pt idx="122">
                  <c:v>223</c:v>
                </c:pt>
                <c:pt idx="123">
                  <c:v>137</c:v>
                </c:pt>
                <c:pt idx="124">
                  <c:v>77</c:v>
                </c:pt>
                <c:pt idx="125">
                  <c:v>89</c:v>
                </c:pt>
                <c:pt idx="126">
                  <c:v>427</c:v>
                </c:pt>
                <c:pt idx="127">
                  <c:v>451</c:v>
                </c:pt>
                <c:pt idx="128">
                  <c:v>265</c:v>
                </c:pt>
                <c:pt idx="129">
                  <c:v>323</c:v>
                </c:pt>
                <c:pt idx="130">
                  <c:v>74</c:v>
                </c:pt>
                <c:pt idx="131">
                  <c:v>38</c:v>
                </c:pt>
                <c:pt idx="132">
                  <c:v>218</c:v>
                </c:pt>
                <c:pt idx="133">
                  <c:v>359</c:v>
                </c:pt>
                <c:pt idx="134">
                  <c:v>178</c:v>
                </c:pt>
                <c:pt idx="135">
                  <c:v>168</c:v>
                </c:pt>
                <c:pt idx="136">
                  <c:v>170</c:v>
                </c:pt>
                <c:pt idx="137">
                  <c:v>76</c:v>
                </c:pt>
                <c:pt idx="138">
                  <c:v>36</c:v>
                </c:pt>
                <c:pt idx="139">
                  <c:v>195</c:v>
                </c:pt>
                <c:pt idx="140">
                  <c:v>180</c:v>
                </c:pt>
                <c:pt idx="141">
                  <c:v>172</c:v>
                </c:pt>
                <c:pt idx="142">
                  <c:v>97</c:v>
                </c:pt>
                <c:pt idx="143">
                  <c:v>135</c:v>
                </c:pt>
                <c:pt idx="144">
                  <c:v>31</c:v>
                </c:pt>
                <c:pt idx="145">
                  <c:v>27</c:v>
                </c:pt>
                <c:pt idx="146">
                  <c:v>150</c:v>
                </c:pt>
                <c:pt idx="147">
                  <c:v>121</c:v>
                </c:pt>
                <c:pt idx="148">
                  <c:v>78</c:v>
                </c:pt>
                <c:pt idx="149">
                  <c:v>88</c:v>
                </c:pt>
                <c:pt idx="150">
                  <c:v>79</c:v>
                </c:pt>
                <c:pt idx="151">
                  <c:v>19</c:v>
                </c:pt>
                <c:pt idx="152">
                  <c:v>17</c:v>
                </c:pt>
                <c:pt idx="153">
                  <c:v>138</c:v>
                </c:pt>
                <c:pt idx="154">
                  <c:v>67</c:v>
                </c:pt>
                <c:pt idx="155">
                  <c:v>91</c:v>
                </c:pt>
                <c:pt idx="156">
                  <c:v>49</c:v>
                </c:pt>
                <c:pt idx="157">
                  <c:v>52</c:v>
                </c:pt>
                <c:pt idx="158">
                  <c:v>19</c:v>
                </c:pt>
                <c:pt idx="159">
                  <c:v>17</c:v>
                </c:pt>
                <c:pt idx="160">
                  <c:v>64</c:v>
                </c:pt>
                <c:pt idx="161">
                  <c:v>72</c:v>
                </c:pt>
                <c:pt idx="162">
                  <c:v>50</c:v>
                </c:pt>
                <c:pt idx="163">
                  <c:v>45</c:v>
                </c:pt>
                <c:pt idx="164">
                  <c:v>43</c:v>
                </c:pt>
                <c:pt idx="165">
                  <c:v>1</c:v>
                </c:pt>
                <c:pt idx="166">
                  <c:v>11</c:v>
                </c:pt>
                <c:pt idx="167">
                  <c:v>44</c:v>
                </c:pt>
                <c:pt idx="168">
                  <c:v>56</c:v>
                </c:pt>
                <c:pt idx="169">
                  <c:v>22</c:v>
                </c:pt>
                <c:pt idx="170">
                  <c:v>19</c:v>
                </c:pt>
                <c:pt idx="171">
                  <c:v>25</c:v>
                </c:pt>
                <c:pt idx="172">
                  <c:v>3</c:v>
                </c:pt>
                <c:pt idx="173">
                  <c:v>2</c:v>
                </c:pt>
                <c:pt idx="174">
                  <c:v>22</c:v>
                </c:pt>
                <c:pt idx="175">
                  <c:v>28</c:v>
                </c:pt>
                <c:pt idx="176">
                  <c:v>10</c:v>
                </c:pt>
                <c:pt idx="177">
                  <c:v>11</c:v>
                </c:pt>
                <c:pt idx="178">
                  <c:v>9</c:v>
                </c:pt>
                <c:pt idx="179">
                  <c:v>6</c:v>
                </c:pt>
                <c:pt idx="18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8B-4ECE-A3C2-CA9B056846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1</c:v>
                </c:pt>
                <c:pt idx="169">
                  <c:v>48</c:v>
                </c:pt>
                <c:pt idx="170">
                  <c:v>46</c:v>
                </c:pt>
                <c:pt idx="171">
                  <c:v>44</c:v>
                </c:pt>
                <c:pt idx="172">
                  <c:v>42</c:v>
                </c:pt>
                <c:pt idx="173">
                  <c:v>40</c:v>
                </c:pt>
                <c:pt idx="174">
                  <c:v>38</c:v>
                </c:pt>
                <c:pt idx="175">
                  <c:v>36</c:v>
                </c:pt>
                <c:pt idx="176">
                  <c:v>34</c:v>
                </c:pt>
                <c:pt idx="177">
                  <c:v>33</c:v>
                </c:pt>
                <c:pt idx="178">
                  <c:v>31</c:v>
                </c:pt>
                <c:pt idx="179">
                  <c:v>29</c:v>
                </c:pt>
                <c:pt idx="180">
                  <c:v>28</c:v>
                </c:pt>
                <c:pt idx="181">
                  <c:v>26</c:v>
                </c:pt>
                <c:pt idx="182">
                  <c:v>25</c:v>
                </c:pt>
                <c:pt idx="183">
                  <c:v>23</c:v>
                </c:pt>
                <c:pt idx="184">
                  <c:v>22</c:v>
                </c:pt>
                <c:pt idx="185">
                  <c:v>21</c:v>
                </c:pt>
                <c:pt idx="186">
                  <c:v>19</c:v>
                </c:pt>
                <c:pt idx="187">
                  <c:v>18</c:v>
                </c:pt>
                <c:pt idx="188">
                  <c:v>17</c:v>
                </c:pt>
                <c:pt idx="189">
                  <c:v>16</c:v>
                </c:pt>
                <c:pt idx="190">
                  <c:v>15</c:v>
                </c:pt>
                <c:pt idx="191">
                  <c:v>14</c:v>
                </c:pt>
                <c:pt idx="192">
                  <c:v>14</c:v>
                </c:pt>
                <c:pt idx="193">
                  <c:v>13</c:v>
                </c:pt>
                <c:pt idx="194">
                  <c:v>12</c:v>
                </c:pt>
                <c:pt idx="195">
                  <c:v>11</c:v>
                </c:pt>
                <c:pt idx="196">
                  <c:v>11</c:v>
                </c:pt>
                <c:pt idx="197">
                  <c:v>10</c:v>
                </c:pt>
                <c:pt idx="198">
                  <c:v>9</c:v>
                </c:pt>
                <c:pt idx="199">
                  <c:v>9</c:v>
                </c:pt>
                <c:pt idx="200">
                  <c:v>8</c:v>
                </c:pt>
                <c:pt idx="201">
                  <c:v>8</c:v>
                </c:pt>
                <c:pt idx="202">
                  <c:v>7</c:v>
                </c:pt>
                <c:pt idx="203">
                  <c:v>7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5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8B-4ECE-A3C2-CA9B056846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2</c:v>
                </c:pt>
                <c:pt idx="169">
                  <c:v>51</c:v>
                </c:pt>
                <c:pt idx="170">
                  <c:v>51</c:v>
                </c:pt>
                <c:pt idx="171">
                  <c:v>51</c:v>
                </c:pt>
                <c:pt idx="172">
                  <c:v>51</c:v>
                </c:pt>
                <c:pt idx="173">
                  <c:v>51</c:v>
                </c:pt>
                <c:pt idx="174">
                  <c:v>50</c:v>
                </c:pt>
                <c:pt idx="175">
                  <c:v>51</c:v>
                </c:pt>
                <c:pt idx="176">
                  <c:v>52</c:v>
                </c:pt>
                <c:pt idx="177">
                  <c:v>53</c:v>
                </c:pt>
                <c:pt idx="178">
                  <c:v>55</c:v>
                </c:pt>
                <c:pt idx="179">
                  <c:v>56</c:v>
                </c:pt>
                <c:pt idx="180">
                  <c:v>58</c:v>
                </c:pt>
                <c:pt idx="181">
                  <c:v>59</c:v>
                </c:pt>
                <c:pt idx="182">
                  <c:v>60</c:v>
                </c:pt>
                <c:pt idx="183">
                  <c:v>62</c:v>
                </c:pt>
                <c:pt idx="184">
                  <c:v>63</c:v>
                </c:pt>
                <c:pt idx="185">
                  <c:v>65</c:v>
                </c:pt>
                <c:pt idx="186">
                  <c:v>66</c:v>
                </c:pt>
                <c:pt idx="187">
                  <c:v>68</c:v>
                </c:pt>
                <c:pt idx="188">
                  <c:v>69</c:v>
                </c:pt>
                <c:pt idx="189">
                  <c:v>71</c:v>
                </c:pt>
                <c:pt idx="190">
                  <c:v>72</c:v>
                </c:pt>
                <c:pt idx="191">
                  <c:v>74</c:v>
                </c:pt>
                <c:pt idx="192">
                  <c:v>76</c:v>
                </c:pt>
                <c:pt idx="193">
                  <c:v>77</c:v>
                </c:pt>
                <c:pt idx="194">
                  <c:v>79</c:v>
                </c:pt>
                <c:pt idx="195">
                  <c:v>80</c:v>
                </c:pt>
                <c:pt idx="196">
                  <c:v>82</c:v>
                </c:pt>
                <c:pt idx="197">
                  <c:v>83</c:v>
                </c:pt>
                <c:pt idx="198">
                  <c:v>84</c:v>
                </c:pt>
                <c:pt idx="199">
                  <c:v>86</c:v>
                </c:pt>
                <c:pt idx="200">
                  <c:v>87</c:v>
                </c:pt>
                <c:pt idx="201">
                  <c:v>88</c:v>
                </c:pt>
                <c:pt idx="202">
                  <c:v>88</c:v>
                </c:pt>
                <c:pt idx="203">
                  <c:v>89</c:v>
                </c:pt>
                <c:pt idx="204">
                  <c:v>90</c:v>
                </c:pt>
                <c:pt idx="205">
                  <c:v>90</c:v>
                </c:pt>
                <c:pt idx="206">
                  <c:v>91</c:v>
                </c:pt>
                <c:pt idx="207">
                  <c:v>91</c:v>
                </c:pt>
                <c:pt idx="208">
                  <c:v>91</c:v>
                </c:pt>
                <c:pt idx="209">
                  <c:v>91</c:v>
                </c:pt>
                <c:pt idx="210">
                  <c:v>91</c:v>
                </c:pt>
                <c:pt idx="211">
                  <c:v>90</c:v>
                </c:pt>
                <c:pt idx="212">
                  <c:v>90</c:v>
                </c:pt>
                <c:pt idx="213">
                  <c:v>89</c:v>
                </c:pt>
                <c:pt idx="214">
                  <c:v>88</c:v>
                </c:pt>
                <c:pt idx="215">
                  <c:v>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8B-4ECE-A3C2-CA9B056846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8B-4ECE-A3C2-CA9B056846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03</c:v>
                </c:pt>
                <c:pt idx="1">
                  <c:v>320</c:v>
                </c:pt>
                <c:pt idx="2">
                  <c:v>251</c:v>
                </c:pt>
                <c:pt idx="3">
                  <c:v>334</c:v>
                </c:pt>
                <c:pt idx="4">
                  <c:v>161</c:v>
                </c:pt>
                <c:pt idx="5">
                  <c:v>107</c:v>
                </c:pt>
                <c:pt idx="6">
                  <c:v>157</c:v>
                </c:pt>
                <c:pt idx="7">
                  <c:v>318</c:v>
                </c:pt>
                <c:pt idx="8">
                  <c:v>357</c:v>
                </c:pt>
                <c:pt idx="9">
                  <c:v>214</c:v>
                </c:pt>
                <c:pt idx="10">
                  <c:v>341</c:v>
                </c:pt>
                <c:pt idx="11">
                  <c:v>108</c:v>
                </c:pt>
                <c:pt idx="12">
                  <c:v>180</c:v>
                </c:pt>
                <c:pt idx="13">
                  <c:v>208</c:v>
                </c:pt>
                <c:pt idx="14">
                  <c:v>361</c:v>
                </c:pt>
                <c:pt idx="15">
                  <c:v>318</c:v>
                </c:pt>
                <c:pt idx="16">
                  <c:v>304</c:v>
                </c:pt>
                <c:pt idx="17">
                  <c:v>553</c:v>
                </c:pt>
                <c:pt idx="18">
                  <c:v>248</c:v>
                </c:pt>
                <c:pt idx="19">
                  <c:v>144</c:v>
                </c:pt>
                <c:pt idx="20">
                  <c:v>340</c:v>
                </c:pt>
                <c:pt idx="21">
                  <c:v>536</c:v>
                </c:pt>
                <c:pt idx="22">
                  <c:v>647</c:v>
                </c:pt>
                <c:pt idx="23">
                  <c:v>161</c:v>
                </c:pt>
                <c:pt idx="24">
                  <c:v>142</c:v>
                </c:pt>
                <c:pt idx="25">
                  <c:v>222</c:v>
                </c:pt>
                <c:pt idx="26">
                  <c:v>97</c:v>
                </c:pt>
                <c:pt idx="27">
                  <c:v>450</c:v>
                </c:pt>
                <c:pt idx="28">
                  <c:v>609</c:v>
                </c:pt>
                <c:pt idx="29">
                  <c:v>869</c:v>
                </c:pt>
                <c:pt idx="30">
                  <c:v>416</c:v>
                </c:pt>
                <c:pt idx="31">
                  <c:v>148</c:v>
                </c:pt>
                <c:pt idx="32">
                  <c:v>236</c:v>
                </c:pt>
                <c:pt idx="33">
                  <c:v>316</c:v>
                </c:pt>
                <c:pt idx="34">
                  <c:v>670</c:v>
                </c:pt>
                <c:pt idx="35">
                  <c:v>819</c:v>
                </c:pt>
                <c:pt idx="36">
                  <c:v>801</c:v>
                </c:pt>
                <c:pt idx="37">
                  <c:v>582</c:v>
                </c:pt>
                <c:pt idx="38">
                  <c:v>803</c:v>
                </c:pt>
                <c:pt idx="39">
                  <c:v>312</c:v>
                </c:pt>
                <c:pt idx="40">
                  <c:v>202</c:v>
                </c:pt>
                <c:pt idx="41">
                  <c:v>363</c:v>
                </c:pt>
                <c:pt idx="42">
                  <c:v>493</c:v>
                </c:pt>
                <c:pt idx="43">
                  <c:v>430</c:v>
                </c:pt>
                <c:pt idx="44">
                  <c:v>306</c:v>
                </c:pt>
                <c:pt idx="45">
                  <c:v>496</c:v>
                </c:pt>
                <c:pt idx="46">
                  <c:v>223</c:v>
                </c:pt>
                <c:pt idx="47">
                  <c:v>85</c:v>
                </c:pt>
                <c:pt idx="48">
                  <c:v>333</c:v>
                </c:pt>
                <c:pt idx="49">
                  <c:v>379</c:v>
                </c:pt>
                <c:pt idx="50">
                  <c:v>259</c:v>
                </c:pt>
                <c:pt idx="51">
                  <c:v>252</c:v>
                </c:pt>
                <c:pt idx="52">
                  <c:v>269</c:v>
                </c:pt>
                <c:pt idx="53">
                  <c:v>193</c:v>
                </c:pt>
                <c:pt idx="54">
                  <c:v>67</c:v>
                </c:pt>
                <c:pt idx="55">
                  <c:v>293</c:v>
                </c:pt>
                <c:pt idx="56">
                  <c:v>274</c:v>
                </c:pt>
                <c:pt idx="57">
                  <c:v>297</c:v>
                </c:pt>
                <c:pt idx="58">
                  <c:v>269</c:v>
                </c:pt>
                <c:pt idx="59">
                  <c:v>294</c:v>
                </c:pt>
                <c:pt idx="60">
                  <c:v>177</c:v>
                </c:pt>
                <c:pt idx="61">
                  <c:v>26</c:v>
                </c:pt>
                <c:pt idx="62">
                  <c:v>233</c:v>
                </c:pt>
                <c:pt idx="63">
                  <c:v>379</c:v>
                </c:pt>
                <c:pt idx="64">
                  <c:v>238</c:v>
                </c:pt>
                <c:pt idx="65">
                  <c:v>237</c:v>
                </c:pt>
                <c:pt idx="66">
                  <c:v>308</c:v>
                </c:pt>
                <c:pt idx="67">
                  <c:v>155</c:v>
                </c:pt>
                <c:pt idx="68">
                  <c:v>47</c:v>
                </c:pt>
                <c:pt idx="69">
                  <c:v>310</c:v>
                </c:pt>
                <c:pt idx="70">
                  <c:v>365</c:v>
                </c:pt>
                <c:pt idx="71">
                  <c:v>318</c:v>
                </c:pt>
                <c:pt idx="72">
                  <c:v>251</c:v>
                </c:pt>
                <c:pt idx="73">
                  <c:v>292</c:v>
                </c:pt>
                <c:pt idx="74">
                  <c:v>157</c:v>
                </c:pt>
                <c:pt idx="75">
                  <c:v>78</c:v>
                </c:pt>
                <c:pt idx="76">
                  <c:v>252</c:v>
                </c:pt>
                <c:pt idx="77">
                  <c:v>386</c:v>
                </c:pt>
                <c:pt idx="78">
                  <c:v>285</c:v>
                </c:pt>
                <c:pt idx="79">
                  <c:v>430</c:v>
                </c:pt>
                <c:pt idx="80">
                  <c:v>385</c:v>
                </c:pt>
                <c:pt idx="81">
                  <c:v>178</c:v>
                </c:pt>
                <c:pt idx="82">
                  <c:v>101</c:v>
                </c:pt>
                <c:pt idx="83">
                  <c:v>302</c:v>
                </c:pt>
                <c:pt idx="84">
                  <c:v>540</c:v>
                </c:pt>
                <c:pt idx="85">
                  <c:v>489</c:v>
                </c:pt>
                <c:pt idx="86">
                  <c:v>526</c:v>
                </c:pt>
                <c:pt idx="87">
                  <c:v>549</c:v>
                </c:pt>
                <c:pt idx="88">
                  <c:v>291</c:v>
                </c:pt>
                <c:pt idx="89">
                  <c:v>61</c:v>
                </c:pt>
                <c:pt idx="90">
                  <c:v>402</c:v>
                </c:pt>
                <c:pt idx="91">
                  <c:v>637</c:v>
                </c:pt>
                <c:pt idx="92">
                  <c:v>612</c:v>
                </c:pt>
                <c:pt idx="93">
                  <c:v>620</c:v>
                </c:pt>
                <c:pt idx="94">
                  <c:v>451</c:v>
                </c:pt>
                <c:pt idx="95">
                  <c:v>482</c:v>
                </c:pt>
                <c:pt idx="96">
                  <c:v>210</c:v>
                </c:pt>
                <c:pt idx="97">
                  <c:v>415</c:v>
                </c:pt>
                <c:pt idx="98">
                  <c:v>614</c:v>
                </c:pt>
                <c:pt idx="99">
                  <c:v>493</c:v>
                </c:pt>
                <c:pt idx="100">
                  <c:v>656</c:v>
                </c:pt>
                <c:pt idx="101">
                  <c:v>687</c:v>
                </c:pt>
                <c:pt idx="102">
                  <c:v>422</c:v>
                </c:pt>
                <c:pt idx="103">
                  <c:v>129</c:v>
                </c:pt>
                <c:pt idx="104">
                  <c:v>433</c:v>
                </c:pt>
                <c:pt idx="105">
                  <c:v>692</c:v>
                </c:pt>
                <c:pt idx="106">
                  <c:v>571</c:v>
                </c:pt>
                <c:pt idx="107">
                  <c:v>542</c:v>
                </c:pt>
                <c:pt idx="108">
                  <c:v>539</c:v>
                </c:pt>
                <c:pt idx="109">
                  <c:v>376</c:v>
                </c:pt>
                <c:pt idx="110">
                  <c:v>72</c:v>
                </c:pt>
                <c:pt idx="111">
                  <c:v>344</c:v>
                </c:pt>
                <c:pt idx="112">
                  <c:v>572</c:v>
                </c:pt>
                <c:pt idx="113">
                  <c:v>497</c:v>
                </c:pt>
                <c:pt idx="114">
                  <c:v>454</c:v>
                </c:pt>
                <c:pt idx="115">
                  <c:v>550</c:v>
                </c:pt>
                <c:pt idx="116">
                  <c:v>296</c:v>
                </c:pt>
                <c:pt idx="117">
                  <c:v>63</c:v>
                </c:pt>
                <c:pt idx="118">
                  <c:v>247</c:v>
                </c:pt>
                <c:pt idx="119">
                  <c:v>456</c:v>
                </c:pt>
                <c:pt idx="120">
                  <c:v>498</c:v>
                </c:pt>
                <c:pt idx="121">
                  <c:v>411</c:v>
                </c:pt>
                <c:pt idx="122">
                  <c:v>281</c:v>
                </c:pt>
                <c:pt idx="123">
                  <c:v>177</c:v>
                </c:pt>
                <c:pt idx="124">
                  <c:v>111</c:v>
                </c:pt>
                <c:pt idx="125">
                  <c:v>114</c:v>
                </c:pt>
                <c:pt idx="126">
                  <c:v>261</c:v>
                </c:pt>
                <c:pt idx="127">
                  <c:v>457</c:v>
                </c:pt>
                <c:pt idx="128">
                  <c:v>305</c:v>
                </c:pt>
                <c:pt idx="129">
                  <c:v>379</c:v>
                </c:pt>
                <c:pt idx="130">
                  <c:v>229</c:v>
                </c:pt>
                <c:pt idx="131">
                  <c:v>40</c:v>
                </c:pt>
                <c:pt idx="132">
                  <c:v>192</c:v>
                </c:pt>
                <c:pt idx="133">
                  <c:v>339</c:v>
                </c:pt>
                <c:pt idx="134">
                  <c:v>277</c:v>
                </c:pt>
                <c:pt idx="135">
                  <c:v>239</c:v>
                </c:pt>
                <c:pt idx="136">
                  <c:v>213</c:v>
                </c:pt>
                <c:pt idx="137">
                  <c:v>94</c:v>
                </c:pt>
                <c:pt idx="138">
                  <c:v>37</c:v>
                </c:pt>
                <c:pt idx="139">
                  <c:v>188</c:v>
                </c:pt>
                <c:pt idx="140">
                  <c:v>249</c:v>
                </c:pt>
                <c:pt idx="141">
                  <c:v>142</c:v>
                </c:pt>
                <c:pt idx="142">
                  <c:v>166</c:v>
                </c:pt>
                <c:pt idx="143">
                  <c:v>180</c:v>
                </c:pt>
                <c:pt idx="144">
                  <c:v>64</c:v>
                </c:pt>
                <c:pt idx="145">
                  <c:v>21</c:v>
                </c:pt>
                <c:pt idx="146">
                  <c:v>166</c:v>
                </c:pt>
                <c:pt idx="147">
                  <c:v>216</c:v>
                </c:pt>
                <c:pt idx="148">
                  <c:v>101</c:v>
                </c:pt>
                <c:pt idx="149">
                  <c:v>217</c:v>
                </c:pt>
                <c:pt idx="150">
                  <c:v>150</c:v>
                </c:pt>
                <c:pt idx="151">
                  <c:v>102</c:v>
                </c:pt>
                <c:pt idx="152">
                  <c:v>17</c:v>
                </c:pt>
                <c:pt idx="153">
                  <c:v>81</c:v>
                </c:pt>
                <c:pt idx="154">
                  <c:v>173</c:v>
                </c:pt>
                <c:pt idx="155">
                  <c:v>155</c:v>
                </c:pt>
                <c:pt idx="156">
                  <c:v>103</c:v>
                </c:pt>
                <c:pt idx="157">
                  <c:v>180</c:v>
                </c:pt>
                <c:pt idx="158">
                  <c:v>41</c:v>
                </c:pt>
                <c:pt idx="159">
                  <c:v>23</c:v>
                </c:pt>
                <c:pt idx="160">
                  <c:v>62</c:v>
                </c:pt>
                <c:pt idx="161">
                  <c:v>121</c:v>
                </c:pt>
                <c:pt idx="162">
                  <c:v>80</c:v>
                </c:pt>
                <c:pt idx="163">
                  <c:v>79</c:v>
                </c:pt>
                <c:pt idx="164">
                  <c:v>74</c:v>
                </c:pt>
                <c:pt idx="165">
                  <c:v>42</c:v>
                </c:pt>
                <c:pt idx="166">
                  <c:v>4</c:v>
                </c:pt>
                <c:pt idx="167">
                  <c:v>47</c:v>
                </c:pt>
                <c:pt idx="168">
                  <c:v>60</c:v>
                </c:pt>
                <c:pt idx="169">
                  <c:v>47</c:v>
                </c:pt>
                <c:pt idx="170">
                  <c:v>44</c:v>
                </c:pt>
                <c:pt idx="171">
                  <c:v>44</c:v>
                </c:pt>
                <c:pt idx="172">
                  <c:v>11</c:v>
                </c:pt>
                <c:pt idx="173">
                  <c:v>5</c:v>
                </c:pt>
                <c:pt idx="174">
                  <c:v>28</c:v>
                </c:pt>
                <c:pt idx="175">
                  <c:v>14</c:v>
                </c:pt>
                <c:pt idx="176">
                  <c:v>48</c:v>
                </c:pt>
                <c:pt idx="177">
                  <c:v>33</c:v>
                </c:pt>
                <c:pt idx="178">
                  <c:v>28</c:v>
                </c:pt>
                <c:pt idx="179">
                  <c:v>5</c:v>
                </c:pt>
                <c:pt idx="18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87-4751-8515-05E217E2F4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A87-4751-8515-05E217E2F4E7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505</c:v>
                </c:pt>
                <c:pt idx="89">
                  <c:v>514</c:v>
                </c:pt>
                <c:pt idx="90">
                  <c:v>521</c:v>
                </c:pt>
                <c:pt idx="91">
                  <c:v>528</c:v>
                </c:pt>
                <c:pt idx="92">
                  <c:v>533</c:v>
                </c:pt>
                <c:pt idx="93">
                  <c:v>539</c:v>
                </c:pt>
                <c:pt idx="94">
                  <c:v>544</c:v>
                </c:pt>
                <c:pt idx="95">
                  <c:v>549</c:v>
                </c:pt>
                <c:pt idx="96">
                  <c:v>553</c:v>
                </c:pt>
                <c:pt idx="97">
                  <c:v>558</c:v>
                </c:pt>
                <c:pt idx="98">
                  <c:v>562</c:v>
                </c:pt>
                <c:pt idx="99">
                  <c:v>565</c:v>
                </c:pt>
                <c:pt idx="100">
                  <c:v>568</c:v>
                </c:pt>
                <c:pt idx="101">
                  <c:v>572</c:v>
                </c:pt>
                <c:pt idx="102">
                  <c:v>574</c:v>
                </c:pt>
                <c:pt idx="103">
                  <c:v>577</c:v>
                </c:pt>
                <c:pt idx="104">
                  <c:v>579</c:v>
                </c:pt>
                <c:pt idx="105">
                  <c:v>581</c:v>
                </c:pt>
                <c:pt idx="106">
                  <c:v>583</c:v>
                </c:pt>
                <c:pt idx="107">
                  <c:v>585</c:v>
                </c:pt>
                <c:pt idx="108">
                  <c:v>586</c:v>
                </c:pt>
                <c:pt idx="109">
                  <c:v>587</c:v>
                </c:pt>
                <c:pt idx="110">
                  <c:v>588</c:v>
                </c:pt>
                <c:pt idx="111">
                  <c:v>588</c:v>
                </c:pt>
                <c:pt idx="112">
                  <c:v>589</c:v>
                </c:pt>
                <c:pt idx="113">
                  <c:v>589</c:v>
                </c:pt>
                <c:pt idx="114">
                  <c:v>589</c:v>
                </c:pt>
                <c:pt idx="115">
                  <c:v>588</c:v>
                </c:pt>
                <c:pt idx="116">
                  <c:v>588</c:v>
                </c:pt>
                <c:pt idx="117">
                  <c:v>587</c:v>
                </c:pt>
                <c:pt idx="118">
                  <c:v>586</c:v>
                </c:pt>
                <c:pt idx="119">
                  <c:v>585</c:v>
                </c:pt>
                <c:pt idx="120">
                  <c:v>583</c:v>
                </c:pt>
                <c:pt idx="121">
                  <c:v>582</c:v>
                </c:pt>
                <c:pt idx="122">
                  <c:v>580</c:v>
                </c:pt>
                <c:pt idx="123">
                  <c:v>578</c:v>
                </c:pt>
                <c:pt idx="124">
                  <c:v>575</c:v>
                </c:pt>
                <c:pt idx="125">
                  <c:v>573</c:v>
                </c:pt>
                <c:pt idx="126">
                  <c:v>570</c:v>
                </c:pt>
                <c:pt idx="127">
                  <c:v>567</c:v>
                </c:pt>
                <c:pt idx="128">
                  <c:v>564</c:v>
                </c:pt>
                <c:pt idx="129">
                  <c:v>561</c:v>
                </c:pt>
                <c:pt idx="130">
                  <c:v>558</c:v>
                </c:pt>
                <c:pt idx="131">
                  <c:v>554</c:v>
                </c:pt>
                <c:pt idx="132">
                  <c:v>550</c:v>
                </c:pt>
                <c:pt idx="133">
                  <c:v>546</c:v>
                </c:pt>
                <c:pt idx="134">
                  <c:v>542</c:v>
                </c:pt>
                <c:pt idx="135">
                  <c:v>538</c:v>
                </c:pt>
                <c:pt idx="136">
                  <c:v>534</c:v>
                </c:pt>
                <c:pt idx="137">
                  <c:v>529</c:v>
                </c:pt>
                <c:pt idx="138">
                  <c:v>524</c:v>
                </c:pt>
                <c:pt idx="139">
                  <c:v>520</c:v>
                </c:pt>
                <c:pt idx="140">
                  <c:v>515</c:v>
                </c:pt>
                <c:pt idx="141">
                  <c:v>510</c:v>
                </c:pt>
                <c:pt idx="142">
                  <c:v>505</c:v>
                </c:pt>
                <c:pt idx="143">
                  <c:v>499</c:v>
                </c:pt>
                <c:pt idx="144">
                  <c:v>494</c:v>
                </c:pt>
                <c:pt idx="145">
                  <c:v>488</c:v>
                </c:pt>
                <c:pt idx="146">
                  <c:v>483</c:v>
                </c:pt>
                <c:pt idx="147">
                  <c:v>477</c:v>
                </c:pt>
                <c:pt idx="148">
                  <c:v>472</c:v>
                </c:pt>
                <c:pt idx="149">
                  <c:v>466</c:v>
                </c:pt>
                <c:pt idx="150">
                  <c:v>460</c:v>
                </c:pt>
                <c:pt idx="151">
                  <c:v>454</c:v>
                </c:pt>
                <c:pt idx="152">
                  <c:v>448</c:v>
                </c:pt>
                <c:pt idx="153">
                  <c:v>442</c:v>
                </c:pt>
                <c:pt idx="154">
                  <c:v>436</c:v>
                </c:pt>
                <c:pt idx="155">
                  <c:v>430</c:v>
                </c:pt>
                <c:pt idx="156">
                  <c:v>424</c:v>
                </c:pt>
                <c:pt idx="157">
                  <c:v>418</c:v>
                </c:pt>
                <c:pt idx="158">
                  <c:v>412</c:v>
                </c:pt>
                <c:pt idx="159">
                  <c:v>406</c:v>
                </c:pt>
                <c:pt idx="160">
                  <c:v>400</c:v>
                </c:pt>
                <c:pt idx="161">
                  <c:v>393</c:v>
                </c:pt>
                <c:pt idx="162">
                  <c:v>387</c:v>
                </c:pt>
                <c:pt idx="163">
                  <c:v>381</c:v>
                </c:pt>
                <c:pt idx="164">
                  <c:v>375</c:v>
                </c:pt>
                <c:pt idx="165">
                  <c:v>369</c:v>
                </c:pt>
                <c:pt idx="166">
                  <c:v>363</c:v>
                </c:pt>
                <c:pt idx="167">
                  <c:v>357</c:v>
                </c:pt>
                <c:pt idx="168">
                  <c:v>351</c:v>
                </c:pt>
                <c:pt idx="169">
                  <c:v>345</c:v>
                </c:pt>
                <c:pt idx="170">
                  <c:v>339</c:v>
                </c:pt>
                <c:pt idx="171">
                  <c:v>333</c:v>
                </c:pt>
                <c:pt idx="172">
                  <c:v>327</c:v>
                </c:pt>
                <c:pt idx="173">
                  <c:v>321</c:v>
                </c:pt>
                <c:pt idx="174">
                  <c:v>315</c:v>
                </c:pt>
                <c:pt idx="175">
                  <c:v>309</c:v>
                </c:pt>
                <c:pt idx="176">
                  <c:v>303</c:v>
                </c:pt>
                <c:pt idx="177">
                  <c:v>298</c:v>
                </c:pt>
                <c:pt idx="178">
                  <c:v>292</c:v>
                </c:pt>
                <c:pt idx="179">
                  <c:v>286</c:v>
                </c:pt>
                <c:pt idx="180">
                  <c:v>281</c:v>
                </c:pt>
                <c:pt idx="181">
                  <c:v>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A87-4751-8515-05E217E2F4E7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500</c:v>
                </c:pt>
                <c:pt idx="89">
                  <c:v>501</c:v>
                </c:pt>
                <c:pt idx="90">
                  <c:v>499</c:v>
                </c:pt>
                <c:pt idx="91">
                  <c:v>495</c:v>
                </c:pt>
                <c:pt idx="92">
                  <c:v>491</c:v>
                </c:pt>
                <c:pt idx="93">
                  <c:v>486</c:v>
                </c:pt>
                <c:pt idx="94">
                  <c:v>481</c:v>
                </c:pt>
                <c:pt idx="95">
                  <c:v>475</c:v>
                </c:pt>
                <c:pt idx="96">
                  <c:v>469</c:v>
                </c:pt>
                <c:pt idx="97">
                  <c:v>463</c:v>
                </c:pt>
                <c:pt idx="98">
                  <c:v>456</c:v>
                </c:pt>
                <c:pt idx="99">
                  <c:v>449</c:v>
                </c:pt>
                <c:pt idx="100">
                  <c:v>443</c:v>
                </c:pt>
                <c:pt idx="101">
                  <c:v>436</c:v>
                </c:pt>
                <c:pt idx="102">
                  <c:v>429</c:v>
                </c:pt>
                <c:pt idx="103">
                  <c:v>422</c:v>
                </c:pt>
                <c:pt idx="104">
                  <c:v>415</c:v>
                </c:pt>
                <c:pt idx="105">
                  <c:v>408</c:v>
                </c:pt>
                <c:pt idx="106">
                  <c:v>401</c:v>
                </c:pt>
                <c:pt idx="107">
                  <c:v>394</c:v>
                </c:pt>
                <c:pt idx="108">
                  <c:v>387</c:v>
                </c:pt>
                <c:pt idx="109">
                  <c:v>379</c:v>
                </c:pt>
                <c:pt idx="110">
                  <c:v>372</c:v>
                </c:pt>
                <c:pt idx="111">
                  <c:v>365</c:v>
                </c:pt>
                <c:pt idx="112">
                  <c:v>358</c:v>
                </c:pt>
                <c:pt idx="113">
                  <c:v>352</c:v>
                </c:pt>
                <c:pt idx="114">
                  <c:v>345</c:v>
                </c:pt>
                <c:pt idx="115">
                  <c:v>338</c:v>
                </c:pt>
                <c:pt idx="116">
                  <c:v>331</c:v>
                </c:pt>
                <c:pt idx="117">
                  <c:v>324</c:v>
                </c:pt>
                <c:pt idx="118">
                  <c:v>318</c:v>
                </c:pt>
                <c:pt idx="119">
                  <c:v>311</c:v>
                </c:pt>
                <c:pt idx="120">
                  <c:v>305</c:v>
                </c:pt>
                <c:pt idx="121">
                  <c:v>299</c:v>
                </c:pt>
                <c:pt idx="122">
                  <c:v>292</c:v>
                </c:pt>
                <c:pt idx="123">
                  <c:v>286</c:v>
                </c:pt>
                <c:pt idx="124">
                  <c:v>280</c:v>
                </c:pt>
                <c:pt idx="125">
                  <c:v>274</c:v>
                </c:pt>
                <c:pt idx="126">
                  <c:v>268</c:v>
                </c:pt>
                <c:pt idx="127">
                  <c:v>262</c:v>
                </c:pt>
                <c:pt idx="128">
                  <c:v>256</c:v>
                </c:pt>
                <c:pt idx="129">
                  <c:v>251</c:v>
                </c:pt>
                <c:pt idx="130">
                  <c:v>245</c:v>
                </c:pt>
                <c:pt idx="131">
                  <c:v>240</c:v>
                </c:pt>
                <c:pt idx="132">
                  <c:v>234</c:v>
                </c:pt>
                <c:pt idx="133">
                  <c:v>229</c:v>
                </c:pt>
                <c:pt idx="134">
                  <c:v>224</c:v>
                </c:pt>
                <c:pt idx="135">
                  <c:v>219</c:v>
                </c:pt>
                <c:pt idx="136">
                  <c:v>214</c:v>
                </c:pt>
                <c:pt idx="137">
                  <c:v>209</c:v>
                </c:pt>
                <c:pt idx="138">
                  <c:v>204</c:v>
                </c:pt>
                <c:pt idx="139">
                  <c:v>199</c:v>
                </c:pt>
                <c:pt idx="140">
                  <c:v>195</c:v>
                </c:pt>
                <c:pt idx="141">
                  <c:v>190</c:v>
                </c:pt>
                <c:pt idx="142">
                  <c:v>186</c:v>
                </c:pt>
                <c:pt idx="143">
                  <c:v>181</c:v>
                </c:pt>
                <c:pt idx="144">
                  <c:v>177</c:v>
                </c:pt>
                <c:pt idx="145">
                  <c:v>173</c:v>
                </c:pt>
                <c:pt idx="146">
                  <c:v>169</c:v>
                </c:pt>
                <c:pt idx="147">
                  <c:v>165</c:v>
                </c:pt>
                <c:pt idx="148">
                  <c:v>161</c:v>
                </c:pt>
                <c:pt idx="149">
                  <c:v>157</c:v>
                </c:pt>
                <c:pt idx="150">
                  <c:v>153</c:v>
                </c:pt>
                <c:pt idx="151">
                  <c:v>149</c:v>
                </c:pt>
                <c:pt idx="152">
                  <c:v>146</c:v>
                </c:pt>
                <c:pt idx="153">
                  <c:v>142</c:v>
                </c:pt>
                <c:pt idx="154">
                  <c:v>139</c:v>
                </c:pt>
                <c:pt idx="155">
                  <c:v>135</c:v>
                </c:pt>
                <c:pt idx="156">
                  <c:v>132</c:v>
                </c:pt>
                <c:pt idx="157">
                  <c:v>129</c:v>
                </c:pt>
                <c:pt idx="158">
                  <c:v>125</c:v>
                </c:pt>
                <c:pt idx="159">
                  <c:v>122</c:v>
                </c:pt>
                <c:pt idx="160">
                  <c:v>119</c:v>
                </c:pt>
                <c:pt idx="161">
                  <c:v>116</c:v>
                </c:pt>
                <c:pt idx="162">
                  <c:v>113</c:v>
                </c:pt>
                <c:pt idx="163">
                  <c:v>111</c:v>
                </c:pt>
                <c:pt idx="164">
                  <c:v>108</c:v>
                </c:pt>
                <c:pt idx="165">
                  <c:v>105</c:v>
                </c:pt>
                <c:pt idx="166">
                  <c:v>102</c:v>
                </c:pt>
                <c:pt idx="167">
                  <c:v>100</c:v>
                </c:pt>
                <c:pt idx="168">
                  <c:v>97</c:v>
                </c:pt>
                <c:pt idx="169">
                  <c:v>95</c:v>
                </c:pt>
                <c:pt idx="170">
                  <c:v>92</c:v>
                </c:pt>
                <c:pt idx="171">
                  <c:v>90</c:v>
                </c:pt>
                <c:pt idx="172">
                  <c:v>88</c:v>
                </c:pt>
                <c:pt idx="173">
                  <c:v>86</c:v>
                </c:pt>
                <c:pt idx="174">
                  <c:v>83</c:v>
                </c:pt>
                <c:pt idx="175">
                  <c:v>81</c:v>
                </c:pt>
                <c:pt idx="176">
                  <c:v>79</c:v>
                </c:pt>
                <c:pt idx="177">
                  <c:v>77</c:v>
                </c:pt>
                <c:pt idx="178">
                  <c:v>75</c:v>
                </c:pt>
                <c:pt idx="179">
                  <c:v>73</c:v>
                </c:pt>
                <c:pt idx="180">
                  <c:v>71</c:v>
                </c:pt>
                <c:pt idx="181">
                  <c:v>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A87-4751-8515-05E217E2F4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203</c:v>
                </c:pt>
                <c:pt idx="1">
                  <c:v>320</c:v>
                </c:pt>
                <c:pt idx="2">
                  <c:v>251</c:v>
                </c:pt>
                <c:pt idx="3">
                  <c:v>334</c:v>
                </c:pt>
                <c:pt idx="4">
                  <c:v>161</c:v>
                </c:pt>
                <c:pt idx="5">
                  <c:v>107</c:v>
                </c:pt>
                <c:pt idx="6">
                  <c:v>157</c:v>
                </c:pt>
                <c:pt idx="7">
                  <c:v>318</c:v>
                </c:pt>
                <c:pt idx="8">
                  <c:v>357</c:v>
                </c:pt>
                <c:pt idx="9">
                  <c:v>214</c:v>
                </c:pt>
                <c:pt idx="10">
                  <c:v>341</c:v>
                </c:pt>
                <c:pt idx="11">
                  <c:v>108</c:v>
                </c:pt>
                <c:pt idx="12">
                  <c:v>180</c:v>
                </c:pt>
                <c:pt idx="13">
                  <c:v>208</c:v>
                </c:pt>
                <c:pt idx="14">
                  <c:v>361</c:v>
                </c:pt>
                <c:pt idx="15">
                  <c:v>318</c:v>
                </c:pt>
                <c:pt idx="16">
                  <c:v>304</c:v>
                </c:pt>
                <c:pt idx="17">
                  <c:v>553</c:v>
                </c:pt>
                <c:pt idx="18">
                  <c:v>248</c:v>
                </c:pt>
                <c:pt idx="19">
                  <c:v>144</c:v>
                </c:pt>
                <c:pt idx="20">
                  <c:v>340</c:v>
                </c:pt>
                <c:pt idx="21">
                  <c:v>536</c:v>
                </c:pt>
                <c:pt idx="22">
                  <c:v>647</c:v>
                </c:pt>
                <c:pt idx="23">
                  <c:v>161</c:v>
                </c:pt>
                <c:pt idx="24">
                  <c:v>142</c:v>
                </c:pt>
                <c:pt idx="25">
                  <c:v>222</c:v>
                </c:pt>
                <c:pt idx="26">
                  <c:v>97</c:v>
                </c:pt>
                <c:pt idx="27">
                  <c:v>450</c:v>
                </c:pt>
                <c:pt idx="28">
                  <c:v>609</c:v>
                </c:pt>
                <c:pt idx="29">
                  <c:v>869</c:v>
                </c:pt>
                <c:pt idx="30">
                  <c:v>416</c:v>
                </c:pt>
                <c:pt idx="31">
                  <c:v>148</c:v>
                </c:pt>
                <c:pt idx="32">
                  <c:v>236</c:v>
                </c:pt>
                <c:pt idx="33">
                  <c:v>316</c:v>
                </c:pt>
                <c:pt idx="34">
                  <c:v>670</c:v>
                </c:pt>
                <c:pt idx="35">
                  <c:v>819</c:v>
                </c:pt>
                <c:pt idx="36">
                  <c:v>801</c:v>
                </c:pt>
                <c:pt idx="37">
                  <c:v>582</c:v>
                </c:pt>
                <c:pt idx="38">
                  <c:v>803</c:v>
                </c:pt>
                <c:pt idx="39">
                  <c:v>312</c:v>
                </c:pt>
                <c:pt idx="40">
                  <c:v>202</c:v>
                </c:pt>
                <c:pt idx="41">
                  <c:v>363</c:v>
                </c:pt>
                <c:pt idx="42">
                  <c:v>493</c:v>
                </c:pt>
                <c:pt idx="43">
                  <c:v>430</c:v>
                </c:pt>
                <c:pt idx="44">
                  <c:v>306</c:v>
                </c:pt>
                <c:pt idx="45">
                  <c:v>496</c:v>
                </c:pt>
                <c:pt idx="46">
                  <c:v>223</c:v>
                </c:pt>
                <c:pt idx="47">
                  <c:v>85</c:v>
                </c:pt>
                <c:pt idx="48">
                  <c:v>333</c:v>
                </c:pt>
                <c:pt idx="49">
                  <c:v>379</c:v>
                </c:pt>
                <c:pt idx="50">
                  <c:v>259</c:v>
                </c:pt>
                <c:pt idx="51">
                  <c:v>252</c:v>
                </c:pt>
                <c:pt idx="52">
                  <c:v>269</c:v>
                </c:pt>
                <c:pt idx="53">
                  <c:v>193</c:v>
                </c:pt>
                <c:pt idx="54">
                  <c:v>67</c:v>
                </c:pt>
                <c:pt idx="55">
                  <c:v>293</c:v>
                </c:pt>
                <c:pt idx="56">
                  <c:v>274</c:v>
                </c:pt>
                <c:pt idx="57">
                  <c:v>297</c:v>
                </c:pt>
                <c:pt idx="58">
                  <c:v>269</c:v>
                </c:pt>
                <c:pt idx="59">
                  <c:v>294</c:v>
                </c:pt>
                <c:pt idx="60">
                  <c:v>177</c:v>
                </c:pt>
                <c:pt idx="61">
                  <c:v>26</c:v>
                </c:pt>
                <c:pt idx="62">
                  <c:v>233</c:v>
                </c:pt>
                <c:pt idx="63">
                  <c:v>379</c:v>
                </c:pt>
                <c:pt idx="64">
                  <c:v>238</c:v>
                </c:pt>
                <c:pt idx="65">
                  <c:v>237</c:v>
                </c:pt>
                <c:pt idx="66">
                  <c:v>308</c:v>
                </c:pt>
                <c:pt idx="67">
                  <c:v>155</c:v>
                </c:pt>
                <c:pt idx="68">
                  <c:v>47</c:v>
                </c:pt>
                <c:pt idx="69">
                  <c:v>310</c:v>
                </c:pt>
                <c:pt idx="70">
                  <c:v>365</c:v>
                </c:pt>
                <c:pt idx="71">
                  <c:v>318</c:v>
                </c:pt>
                <c:pt idx="72">
                  <c:v>251</c:v>
                </c:pt>
                <c:pt idx="73">
                  <c:v>292</c:v>
                </c:pt>
                <c:pt idx="74">
                  <c:v>157</c:v>
                </c:pt>
                <c:pt idx="75">
                  <c:v>78</c:v>
                </c:pt>
                <c:pt idx="76">
                  <c:v>252</c:v>
                </c:pt>
                <c:pt idx="77">
                  <c:v>386</c:v>
                </c:pt>
                <c:pt idx="78">
                  <c:v>285</c:v>
                </c:pt>
                <c:pt idx="79">
                  <c:v>430</c:v>
                </c:pt>
                <c:pt idx="80">
                  <c:v>385</c:v>
                </c:pt>
                <c:pt idx="81">
                  <c:v>178</c:v>
                </c:pt>
                <c:pt idx="82">
                  <c:v>101</c:v>
                </c:pt>
                <c:pt idx="83">
                  <c:v>302</c:v>
                </c:pt>
                <c:pt idx="84">
                  <c:v>540</c:v>
                </c:pt>
                <c:pt idx="85">
                  <c:v>489</c:v>
                </c:pt>
                <c:pt idx="86">
                  <c:v>526</c:v>
                </c:pt>
                <c:pt idx="87">
                  <c:v>549</c:v>
                </c:pt>
                <c:pt idx="88">
                  <c:v>291</c:v>
                </c:pt>
                <c:pt idx="89">
                  <c:v>61</c:v>
                </c:pt>
                <c:pt idx="90">
                  <c:v>402</c:v>
                </c:pt>
                <c:pt idx="91">
                  <c:v>637</c:v>
                </c:pt>
                <c:pt idx="92">
                  <c:v>612</c:v>
                </c:pt>
                <c:pt idx="93">
                  <c:v>620</c:v>
                </c:pt>
                <c:pt idx="94">
                  <c:v>451</c:v>
                </c:pt>
                <c:pt idx="95">
                  <c:v>482</c:v>
                </c:pt>
                <c:pt idx="96">
                  <c:v>210</c:v>
                </c:pt>
                <c:pt idx="97">
                  <c:v>415</c:v>
                </c:pt>
                <c:pt idx="98">
                  <c:v>614</c:v>
                </c:pt>
                <c:pt idx="99">
                  <c:v>493</c:v>
                </c:pt>
                <c:pt idx="100">
                  <c:v>656</c:v>
                </c:pt>
                <c:pt idx="101">
                  <c:v>687</c:v>
                </c:pt>
                <c:pt idx="102">
                  <c:v>422</c:v>
                </c:pt>
                <c:pt idx="103">
                  <c:v>129</c:v>
                </c:pt>
                <c:pt idx="104">
                  <c:v>433</c:v>
                </c:pt>
                <c:pt idx="105">
                  <c:v>692</c:v>
                </c:pt>
                <c:pt idx="106">
                  <c:v>571</c:v>
                </c:pt>
                <c:pt idx="107">
                  <c:v>542</c:v>
                </c:pt>
                <c:pt idx="108">
                  <c:v>539</c:v>
                </c:pt>
                <c:pt idx="109">
                  <c:v>376</c:v>
                </c:pt>
                <c:pt idx="110">
                  <c:v>72</c:v>
                </c:pt>
                <c:pt idx="111">
                  <c:v>344</c:v>
                </c:pt>
                <c:pt idx="112">
                  <c:v>572</c:v>
                </c:pt>
                <c:pt idx="113">
                  <c:v>497</c:v>
                </c:pt>
                <c:pt idx="114">
                  <c:v>454</c:v>
                </c:pt>
                <c:pt idx="115">
                  <c:v>550</c:v>
                </c:pt>
                <c:pt idx="116">
                  <c:v>296</c:v>
                </c:pt>
                <c:pt idx="117">
                  <c:v>63</c:v>
                </c:pt>
                <c:pt idx="118">
                  <c:v>247</c:v>
                </c:pt>
                <c:pt idx="119">
                  <c:v>456</c:v>
                </c:pt>
                <c:pt idx="120">
                  <c:v>498</c:v>
                </c:pt>
                <c:pt idx="121">
                  <c:v>411</c:v>
                </c:pt>
                <c:pt idx="122">
                  <c:v>281</c:v>
                </c:pt>
                <c:pt idx="123">
                  <c:v>177</c:v>
                </c:pt>
                <c:pt idx="124">
                  <c:v>111</c:v>
                </c:pt>
                <c:pt idx="125">
                  <c:v>114</c:v>
                </c:pt>
                <c:pt idx="126">
                  <c:v>261</c:v>
                </c:pt>
                <c:pt idx="127">
                  <c:v>457</c:v>
                </c:pt>
                <c:pt idx="128">
                  <c:v>305</c:v>
                </c:pt>
                <c:pt idx="129">
                  <c:v>379</c:v>
                </c:pt>
                <c:pt idx="130">
                  <c:v>229</c:v>
                </c:pt>
                <c:pt idx="131">
                  <c:v>40</c:v>
                </c:pt>
                <c:pt idx="132">
                  <c:v>192</c:v>
                </c:pt>
                <c:pt idx="133">
                  <c:v>339</c:v>
                </c:pt>
                <c:pt idx="134">
                  <c:v>277</c:v>
                </c:pt>
                <c:pt idx="135">
                  <c:v>239</c:v>
                </c:pt>
                <c:pt idx="136">
                  <c:v>213</c:v>
                </c:pt>
                <c:pt idx="137">
                  <c:v>94</c:v>
                </c:pt>
                <c:pt idx="138">
                  <c:v>37</c:v>
                </c:pt>
                <c:pt idx="139">
                  <c:v>188</c:v>
                </c:pt>
                <c:pt idx="140">
                  <c:v>249</c:v>
                </c:pt>
                <c:pt idx="141">
                  <c:v>142</c:v>
                </c:pt>
                <c:pt idx="142">
                  <c:v>166</c:v>
                </c:pt>
                <c:pt idx="143">
                  <c:v>180</c:v>
                </c:pt>
                <c:pt idx="144">
                  <c:v>64</c:v>
                </c:pt>
                <c:pt idx="145">
                  <c:v>21</c:v>
                </c:pt>
                <c:pt idx="146">
                  <c:v>166</c:v>
                </c:pt>
                <c:pt idx="147">
                  <c:v>216</c:v>
                </c:pt>
                <c:pt idx="148">
                  <c:v>101</c:v>
                </c:pt>
                <c:pt idx="149">
                  <c:v>217</c:v>
                </c:pt>
                <c:pt idx="150">
                  <c:v>150</c:v>
                </c:pt>
                <c:pt idx="151">
                  <c:v>102</c:v>
                </c:pt>
                <c:pt idx="152">
                  <c:v>17</c:v>
                </c:pt>
                <c:pt idx="153">
                  <c:v>81</c:v>
                </c:pt>
                <c:pt idx="154">
                  <c:v>173</c:v>
                </c:pt>
                <c:pt idx="155">
                  <c:v>155</c:v>
                </c:pt>
                <c:pt idx="156">
                  <c:v>103</c:v>
                </c:pt>
                <c:pt idx="157">
                  <c:v>180</c:v>
                </c:pt>
                <c:pt idx="158">
                  <c:v>41</c:v>
                </c:pt>
                <c:pt idx="159">
                  <c:v>23</c:v>
                </c:pt>
                <c:pt idx="160">
                  <c:v>62</c:v>
                </c:pt>
                <c:pt idx="161">
                  <c:v>121</c:v>
                </c:pt>
                <c:pt idx="162">
                  <c:v>80</c:v>
                </c:pt>
                <c:pt idx="163">
                  <c:v>79</c:v>
                </c:pt>
                <c:pt idx="164">
                  <c:v>74</c:v>
                </c:pt>
                <c:pt idx="165">
                  <c:v>42</c:v>
                </c:pt>
                <c:pt idx="166">
                  <c:v>4</c:v>
                </c:pt>
                <c:pt idx="167">
                  <c:v>47</c:v>
                </c:pt>
                <c:pt idx="168">
                  <c:v>60</c:v>
                </c:pt>
                <c:pt idx="169">
                  <c:v>47</c:v>
                </c:pt>
                <c:pt idx="170">
                  <c:v>44</c:v>
                </c:pt>
                <c:pt idx="171">
                  <c:v>44</c:v>
                </c:pt>
                <c:pt idx="172">
                  <c:v>11</c:v>
                </c:pt>
                <c:pt idx="173">
                  <c:v>5</c:v>
                </c:pt>
                <c:pt idx="174">
                  <c:v>28</c:v>
                </c:pt>
                <c:pt idx="175">
                  <c:v>14</c:v>
                </c:pt>
                <c:pt idx="176">
                  <c:v>48</c:v>
                </c:pt>
                <c:pt idx="177">
                  <c:v>33</c:v>
                </c:pt>
                <c:pt idx="178">
                  <c:v>28</c:v>
                </c:pt>
                <c:pt idx="179">
                  <c:v>5</c:v>
                </c:pt>
                <c:pt idx="18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456</c:v>
                </c:pt>
                <c:pt idx="89">
                  <c:v>456</c:v>
                </c:pt>
                <c:pt idx="90">
                  <c:v>453</c:v>
                </c:pt>
                <c:pt idx="91">
                  <c:v>449</c:v>
                </c:pt>
                <c:pt idx="92">
                  <c:v>444</c:v>
                </c:pt>
                <c:pt idx="93">
                  <c:v>438</c:v>
                </c:pt>
                <c:pt idx="94">
                  <c:v>432</c:v>
                </c:pt>
                <c:pt idx="95">
                  <c:v>425</c:v>
                </c:pt>
                <c:pt idx="96">
                  <c:v>419</c:v>
                </c:pt>
                <c:pt idx="97">
                  <c:v>412</c:v>
                </c:pt>
                <c:pt idx="98">
                  <c:v>405</c:v>
                </c:pt>
                <c:pt idx="99">
                  <c:v>398</c:v>
                </c:pt>
                <c:pt idx="100">
                  <c:v>390</c:v>
                </c:pt>
                <c:pt idx="101">
                  <c:v>383</c:v>
                </c:pt>
                <c:pt idx="102">
                  <c:v>375</c:v>
                </c:pt>
                <c:pt idx="103">
                  <c:v>368</c:v>
                </c:pt>
                <c:pt idx="104">
                  <c:v>360</c:v>
                </c:pt>
                <c:pt idx="105">
                  <c:v>352</c:v>
                </c:pt>
                <c:pt idx="106">
                  <c:v>345</c:v>
                </c:pt>
                <c:pt idx="107">
                  <c:v>337</c:v>
                </c:pt>
                <c:pt idx="108">
                  <c:v>329</c:v>
                </c:pt>
                <c:pt idx="109">
                  <c:v>322</c:v>
                </c:pt>
                <c:pt idx="110">
                  <c:v>314</c:v>
                </c:pt>
                <c:pt idx="111">
                  <c:v>306</c:v>
                </c:pt>
                <c:pt idx="112">
                  <c:v>299</c:v>
                </c:pt>
                <c:pt idx="113">
                  <c:v>291</c:v>
                </c:pt>
                <c:pt idx="114">
                  <c:v>284</c:v>
                </c:pt>
                <c:pt idx="115">
                  <c:v>277</c:v>
                </c:pt>
                <c:pt idx="116">
                  <c:v>269</c:v>
                </c:pt>
                <c:pt idx="117">
                  <c:v>262</c:v>
                </c:pt>
                <c:pt idx="118">
                  <c:v>255</c:v>
                </c:pt>
                <c:pt idx="119">
                  <c:v>248</c:v>
                </c:pt>
                <c:pt idx="120">
                  <c:v>242</c:v>
                </c:pt>
                <c:pt idx="121">
                  <c:v>235</c:v>
                </c:pt>
                <c:pt idx="122">
                  <c:v>228</c:v>
                </c:pt>
                <c:pt idx="123">
                  <c:v>222</c:v>
                </c:pt>
                <c:pt idx="124">
                  <c:v>216</c:v>
                </c:pt>
                <c:pt idx="125">
                  <c:v>210</c:v>
                </c:pt>
                <c:pt idx="126">
                  <c:v>204</c:v>
                </c:pt>
                <c:pt idx="127">
                  <c:v>198</c:v>
                </c:pt>
                <c:pt idx="128">
                  <c:v>193</c:v>
                </c:pt>
                <c:pt idx="129">
                  <c:v>187</c:v>
                </c:pt>
                <c:pt idx="130">
                  <c:v>182</c:v>
                </c:pt>
                <c:pt idx="131">
                  <c:v>176</c:v>
                </c:pt>
                <c:pt idx="132">
                  <c:v>171</c:v>
                </c:pt>
                <c:pt idx="133">
                  <c:v>166</c:v>
                </c:pt>
                <c:pt idx="134">
                  <c:v>161</c:v>
                </c:pt>
                <c:pt idx="135">
                  <c:v>156</c:v>
                </c:pt>
                <c:pt idx="136">
                  <c:v>151</c:v>
                </c:pt>
                <c:pt idx="137">
                  <c:v>146</c:v>
                </c:pt>
                <c:pt idx="138">
                  <c:v>142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4</c:v>
                </c:pt>
                <c:pt idx="143">
                  <c:v>120</c:v>
                </c:pt>
                <c:pt idx="144">
                  <c:v>116</c:v>
                </c:pt>
                <c:pt idx="145">
                  <c:v>113</c:v>
                </c:pt>
                <c:pt idx="146">
                  <c:v>109</c:v>
                </c:pt>
                <c:pt idx="147">
                  <c:v>105</c:v>
                </c:pt>
                <c:pt idx="148">
                  <c:v>102</c:v>
                </c:pt>
                <c:pt idx="149">
                  <c:v>98</c:v>
                </c:pt>
                <c:pt idx="150">
                  <c:v>95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2</c:v>
                </c:pt>
                <c:pt idx="159">
                  <c:v>69</c:v>
                </c:pt>
                <c:pt idx="160">
                  <c:v>67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1</c:v>
                </c:pt>
                <c:pt idx="167">
                  <c:v>49</c:v>
                </c:pt>
                <c:pt idx="168">
                  <c:v>47</c:v>
                </c:pt>
                <c:pt idx="169">
                  <c:v>44</c:v>
                </c:pt>
                <c:pt idx="170">
                  <c:v>42</c:v>
                </c:pt>
                <c:pt idx="171">
                  <c:v>40</c:v>
                </c:pt>
                <c:pt idx="172">
                  <c:v>38</c:v>
                </c:pt>
                <c:pt idx="173">
                  <c:v>36</c:v>
                </c:pt>
                <c:pt idx="174">
                  <c:v>34</c:v>
                </c:pt>
                <c:pt idx="175">
                  <c:v>32</c:v>
                </c:pt>
                <c:pt idx="176">
                  <c:v>30</c:v>
                </c:pt>
                <c:pt idx="177">
                  <c:v>29</c:v>
                </c:pt>
                <c:pt idx="178">
                  <c:v>27</c:v>
                </c:pt>
                <c:pt idx="179">
                  <c:v>26</c:v>
                </c:pt>
                <c:pt idx="180">
                  <c:v>24</c:v>
                </c:pt>
                <c:pt idx="181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500</c:v>
                </c:pt>
                <c:pt idx="89">
                  <c:v>501</c:v>
                </c:pt>
                <c:pt idx="90">
                  <c:v>499</c:v>
                </c:pt>
                <c:pt idx="91">
                  <c:v>495</c:v>
                </c:pt>
                <c:pt idx="92">
                  <c:v>491</c:v>
                </c:pt>
                <c:pt idx="93">
                  <c:v>486</c:v>
                </c:pt>
                <c:pt idx="94">
                  <c:v>481</c:v>
                </c:pt>
                <c:pt idx="95">
                  <c:v>475</c:v>
                </c:pt>
                <c:pt idx="96">
                  <c:v>469</c:v>
                </c:pt>
                <c:pt idx="97">
                  <c:v>463</c:v>
                </c:pt>
                <c:pt idx="98">
                  <c:v>456</c:v>
                </c:pt>
                <c:pt idx="99">
                  <c:v>449</c:v>
                </c:pt>
                <c:pt idx="100">
                  <c:v>443</c:v>
                </c:pt>
                <c:pt idx="101">
                  <c:v>436</c:v>
                </c:pt>
                <c:pt idx="102">
                  <c:v>429</c:v>
                </c:pt>
                <c:pt idx="103">
                  <c:v>422</c:v>
                </c:pt>
                <c:pt idx="104">
                  <c:v>415</c:v>
                </c:pt>
                <c:pt idx="105">
                  <c:v>408</c:v>
                </c:pt>
                <c:pt idx="106">
                  <c:v>401</c:v>
                </c:pt>
                <c:pt idx="107">
                  <c:v>394</c:v>
                </c:pt>
                <c:pt idx="108">
                  <c:v>387</c:v>
                </c:pt>
                <c:pt idx="109">
                  <c:v>379</c:v>
                </c:pt>
                <c:pt idx="110">
                  <c:v>372</c:v>
                </c:pt>
                <c:pt idx="111">
                  <c:v>365</c:v>
                </c:pt>
                <c:pt idx="112">
                  <c:v>358</c:v>
                </c:pt>
                <c:pt idx="113">
                  <c:v>352</c:v>
                </c:pt>
                <c:pt idx="114">
                  <c:v>345</c:v>
                </c:pt>
                <c:pt idx="115">
                  <c:v>338</c:v>
                </c:pt>
                <c:pt idx="116">
                  <c:v>331</c:v>
                </c:pt>
                <c:pt idx="117">
                  <c:v>324</c:v>
                </c:pt>
                <c:pt idx="118">
                  <c:v>318</c:v>
                </c:pt>
                <c:pt idx="119">
                  <c:v>311</c:v>
                </c:pt>
                <c:pt idx="120">
                  <c:v>305</c:v>
                </c:pt>
                <c:pt idx="121">
                  <c:v>299</c:v>
                </c:pt>
                <c:pt idx="122">
                  <c:v>292</c:v>
                </c:pt>
                <c:pt idx="123">
                  <c:v>286</c:v>
                </c:pt>
                <c:pt idx="124">
                  <c:v>280</c:v>
                </c:pt>
                <c:pt idx="125">
                  <c:v>274</c:v>
                </c:pt>
                <c:pt idx="126">
                  <c:v>268</c:v>
                </c:pt>
                <c:pt idx="127">
                  <c:v>262</c:v>
                </c:pt>
                <c:pt idx="128">
                  <c:v>256</c:v>
                </c:pt>
                <c:pt idx="129">
                  <c:v>251</c:v>
                </c:pt>
                <c:pt idx="130">
                  <c:v>245</c:v>
                </c:pt>
                <c:pt idx="131">
                  <c:v>240</c:v>
                </c:pt>
                <c:pt idx="132">
                  <c:v>234</c:v>
                </c:pt>
                <c:pt idx="133">
                  <c:v>229</c:v>
                </c:pt>
                <c:pt idx="134">
                  <c:v>224</c:v>
                </c:pt>
                <c:pt idx="135">
                  <c:v>219</c:v>
                </c:pt>
                <c:pt idx="136">
                  <c:v>214</c:v>
                </c:pt>
                <c:pt idx="137">
                  <c:v>209</c:v>
                </c:pt>
                <c:pt idx="138">
                  <c:v>204</c:v>
                </c:pt>
                <c:pt idx="139">
                  <c:v>199</c:v>
                </c:pt>
                <c:pt idx="140">
                  <c:v>195</c:v>
                </c:pt>
                <c:pt idx="141">
                  <c:v>190</c:v>
                </c:pt>
                <c:pt idx="142">
                  <c:v>186</c:v>
                </c:pt>
                <c:pt idx="143">
                  <c:v>181</c:v>
                </c:pt>
                <c:pt idx="144">
                  <c:v>177</c:v>
                </c:pt>
                <c:pt idx="145">
                  <c:v>173</c:v>
                </c:pt>
                <c:pt idx="146">
                  <c:v>169</c:v>
                </c:pt>
                <c:pt idx="147">
                  <c:v>165</c:v>
                </c:pt>
                <c:pt idx="148">
                  <c:v>161</c:v>
                </c:pt>
                <c:pt idx="149">
                  <c:v>157</c:v>
                </c:pt>
                <c:pt idx="150">
                  <c:v>153</c:v>
                </c:pt>
                <c:pt idx="151">
                  <c:v>149</c:v>
                </c:pt>
                <c:pt idx="152">
                  <c:v>146</c:v>
                </c:pt>
                <c:pt idx="153">
                  <c:v>142</c:v>
                </c:pt>
                <c:pt idx="154">
                  <c:v>139</c:v>
                </c:pt>
                <c:pt idx="155">
                  <c:v>135</c:v>
                </c:pt>
                <c:pt idx="156">
                  <c:v>132</c:v>
                </c:pt>
                <c:pt idx="157">
                  <c:v>129</c:v>
                </c:pt>
                <c:pt idx="158">
                  <c:v>125</c:v>
                </c:pt>
                <c:pt idx="159">
                  <c:v>122</c:v>
                </c:pt>
                <c:pt idx="160">
                  <c:v>119</c:v>
                </c:pt>
                <c:pt idx="161">
                  <c:v>116</c:v>
                </c:pt>
                <c:pt idx="162">
                  <c:v>113</c:v>
                </c:pt>
                <c:pt idx="163">
                  <c:v>111</c:v>
                </c:pt>
                <c:pt idx="164">
                  <c:v>108</c:v>
                </c:pt>
                <c:pt idx="165">
                  <c:v>105</c:v>
                </c:pt>
                <c:pt idx="166">
                  <c:v>102</c:v>
                </c:pt>
                <c:pt idx="167">
                  <c:v>100</c:v>
                </c:pt>
                <c:pt idx="168">
                  <c:v>97</c:v>
                </c:pt>
                <c:pt idx="169">
                  <c:v>95</c:v>
                </c:pt>
                <c:pt idx="170">
                  <c:v>92</c:v>
                </c:pt>
                <c:pt idx="171">
                  <c:v>90</c:v>
                </c:pt>
                <c:pt idx="172">
                  <c:v>88</c:v>
                </c:pt>
                <c:pt idx="173">
                  <c:v>86</c:v>
                </c:pt>
                <c:pt idx="174">
                  <c:v>83</c:v>
                </c:pt>
                <c:pt idx="175">
                  <c:v>81</c:v>
                </c:pt>
                <c:pt idx="176">
                  <c:v>79</c:v>
                </c:pt>
                <c:pt idx="177">
                  <c:v>77</c:v>
                </c:pt>
                <c:pt idx="178">
                  <c:v>75</c:v>
                </c:pt>
                <c:pt idx="179">
                  <c:v>73</c:v>
                </c:pt>
                <c:pt idx="180">
                  <c:v>71</c:v>
                </c:pt>
                <c:pt idx="181">
                  <c:v>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03</c:v>
                </c:pt>
                <c:pt idx="1">
                  <c:v>320</c:v>
                </c:pt>
                <c:pt idx="2">
                  <c:v>251</c:v>
                </c:pt>
                <c:pt idx="3">
                  <c:v>334</c:v>
                </c:pt>
                <c:pt idx="4">
                  <c:v>161</c:v>
                </c:pt>
                <c:pt idx="5">
                  <c:v>107</c:v>
                </c:pt>
                <c:pt idx="6">
                  <c:v>157</c:v>
                </c:pt>
                <c:pt idx="7">
                  <c:v>318</c:v>
                </c:pt>
                <c:pt idx="8">
                  <c:v>357</c:v>
                </c:pt>
                <c:pt idx="9">
                  <c:v>214</c:v>
                </c:pt>
                <c:pt idx="10">
                  <c:v>341</c:v>
                </c:pt>
                <c:pt idx="11">
                  <c:v>108</c:v>
                </c:pt>
                <c:pt idx="12">
                  <c:v>180</c:v>
                </c:pt>
                <c:pt idx="13">
                  <c:v>208</c:v>
                </c:pt>
                <c:pt idx="14">
                  <c:v>361</c:v>
                </c:pt>
                <c:pt idx="15">
                  <c:v>318</c:v>
                </c:pt>
                <c:pt idx="16">
                  <c:v>304</c:v>
                </c:pt>
                <c:pt idx="17">
                  <c:v>553</c:v>
                </c:pt>
                <c:pt idx="18">
                  <c:v>248</c:v>
                </c:pt>
                <c:pt idx="19">
                  <c:v>144</c:v>
                </c:pt>
                <c:pt idx="20">
                  <c:v>340</c:v>
                </c:pt>
                <c:pt idx="21">
                  <c:v>536</c:v>
                </c:pt>
                <c:pt idx="22">
                  <c:v>647</c:v>
                </c:pt>
                <c:pt idx="23">
                  <c:v>161</c:v>
                </c:pt>
                <c:pt idx="24">
                  <c:v>142</c:v>
                </c:pt>
                <c:pt idx="25">
                  <c:v>222</c:v>
                </c:pt>
                <c:pt idx="26">
                  <c:v>97</c:v>
                </c:pt>
                <c:pt idx="27">
                  <c:v>450</c:v>
                </c:pt>
                <c:pt idx="28">
                  <c:v>609</c:v>
                </c:pt>
                <c:pt idx="29">
                  <c:v>869</c:v>
                </c:pt>
                <c:pt idx="30">
                  <c:v>416</c:v>
                </c:pt>
                <c:pt idx="31">
                  <c:v>148</c:v>
                </c:pt>
                <c:pt idx="32">
                  <c:v>236</c:v>
                </c:pt>
                <c:pt idx="33">
                  <c:v>316</c:v>
                </c:pt>
                <c:pt idx="34">
                  <c:v>670</c:v>
                </c:pt>
                <c:pt idx="35">
                  <c:v>819</c:v>
                </c:pt>
                <c:pt idx="36">
                  <c:v>801</c:v>
                </c:pt>
                <c:pt idx="37">
                  <c:v>582</c:v>
                </c:pt>
                <c:pt idx="38">
                  <c:v>803</c:v>
                </c:pt>
                <c:pt idx="39">
                  <c:v>312</c:v>
                </c:pt>
                <c:pt idx="40">
                  <c:v>202</c:v>
                </c:pt>
                <c:pt idx="41">
                  <c:v>363</c:v>
                </c:pt>
                <c:pt idx="42">
                  <c:v>493</c:v>
                </c:pt>
                <c:pt idx="43">
                  <c:v>430</c:v>
                </c:pt>
                <c:pt idx="44">
                  <c:v>306</c:v>
                </c:pt>
                <c:pt idx="45">
                  <c:v>496</c:v>
                </c:pt>
                <c:pt idx="46">
                  <c:v>223</c:v>
                </c:pt>
                <c:pt idx="47">
                  <c:v>85</c:v>
                </c:pt>
                <c:pt idx="48">
                  <c:v>333</c:v>
                </c:pt>
                <c:pt idx="49">
                  <c:v>379</c:v>
                </c:pt>
                <c:pt idx="50">
                  <c:v>259</c:v>
                </c:pt>
                <c:pt idx="51">
                  <c:v>252</c:v>
                </c:pt>
                <c:pt idx="52">
                  <c:v>269</c:v>
                </c:pt>
                <c:pt idx="53">
                  <c:v>193</c:v>
                </c:pt>
                <c:pt idx="54">
                  <c:v>67</c:v>
                </c:pt>
                <c:pt idx="55">
                  <c:v>293</c:v>
                </c:pt>
                <c:pt idx="56">
                  <c:v>274</c:v>
                </c:pt>
                <c:pt idx="57">
                  <c:v>297</c:v>
                </c:pt>
                <c:pt idx="58">
                  <c:v>269</c:v>
                </c:pt>
                <c:pt idx="59">
                  <c:v>294</c:v>
                </c:pt>
                <c:pt idx="60">
                  <c:v>177</c:v>
                </c:pt>
                <c:pt idx="61">
                  <c:v>26</c:v>
                </c:pt>
                <c:pt idx="62">
                  <c:v>233</c:v>
                </c:pt>
                <c:pt idx="63">
                  <c:v>379</c:v>
                </c:pt>
                <c:pt idx="64">
                  <c:v>238</c:v>
                </c:pt>
                <c:pt idx="65">
                  <c:v>237</c:v>
                </c:pt>
                <c:pt idx="66">
                  <c:v>308</c:v>
                </c:pt>
                <c:pt idx="67">
                  <c:v>155</c:v>
                </c:pt>
                <c:pt idx="68">
                  <c:v>47</c:v>
                </c:pt>
                <c:pt idx="69">
                  <c:v>310</c:v>
                </c:pt>
                <c:pt idx="70">
                  <c:v>365</c:v>
                </c:pt>
                <c:pt idx="71">
                  <c:v>318</c:v>
                </c:pt>
                <c:pt idx="72">
                  <c:v>251</c:v>
                </c:pt>
                <c:pt idx="73">
                  <c:v>292</c:v>
                </c:pt>
                <c:pt idx="74">
                  <c:v>157</c:v>
                </c:pt>
                <c:pt idx="75">
                  <c:v>78</c:v>
                </c:pt>
                <c:pt idx="76">
                  <c:v>252</c:v>
                </c:pt>
                <c:pt idx="77">
                  <c:v>386</c:v>
                </c:pt>
                <c:pt idx="78">
                  <c:v>285</c:v>
                </c:pt>
                <c:pt idx="79">
                  <c:v>430</c:v>
                </c:pt>
                <c:pt idx="80">
                  <c:v>385</c:v>
                </c:pt>
                <c:pt idx="81">
                  <c:v>178</c:v>
                </c:pt>
                <c:pt idx="82">
                  <c:v>101</c:v>
                </c:pt>
                <c:pt idx="83">
                  <c:v>302</c:v>
                </c:pt>
                <c:pt idx="84">
                  <c:v>540</c:v>
                </c:pt>
                <c:pt idx="85">
                  <c:v>489</c:v>
                </c:pt>
                <c:pt idx="86">
                  <c:v>526</c:v>
                </c:pt>
                <c:pt idx="87">
                  <c:v>549</c:v>
                </c:pt>
                <c:pt idx="88">
                  <c:v>291</c:v>
                </c:pt>
                <c:pt idx="89">
                  <c:v>61</c:v>
                </c:pt>
                <c:pt idx="90">
                  <c:v>402</c:v>
                </c:pt>
                <c:pt idx="91">
                  <c:v>637</c:v>
                </c:pt>
                <c:pt idx="92">
                  <c:v>612</c:v>
                </c:pt>
                <c:pt idx="93">
                  <c:v>620</c:v>
                </c:pt>
                <c:pt idx="94">
                  <c:v>451</c:v>
                </c:pt>
                <c:pt idx="95">
                  <c:v>482</c:v>
                </c:pt>
                <c:pt idx="96">
                  <c:v>210</c:v>
                </c:pt>
                <c:pt idx="97">
                  <c:v>415</c:v>
                </c:pt>
                <c:pt idx="98">
                  <c:v>614</c:v>
                </c:pt>
                <c:pt idx="99">
                  <c:v>493</c:v>
                </c:pt>
                <c:pt idx="100">
                  <c:v>656</c:v>
                </c:pt>
                <c:pt idx="101">
                  <c:v>687</c:v>
                </c:pt>
                <c:pt idx="102">
                  <c:v>422</c:v>
                </c:pt>
                <c:pt idx="103">
                  <c:v>129</c:v>
                </c:pt>
                <c:pt idx="104">
                  <c:v>433</c:v>
                </c:pt>
                <c:pt idx="105">
                  <c:v>692</c:v>
                </c:pt>
                <c:pt idx="106">
                  <c:v>571</c:v>
                </c:pt>
                <c:pt idx="107">
                  <c:v>542</c:v>
                </c:pt>
                <c:pt idx="108">
                  <c:v>539</c:v>
                </c:pt>
                <c:pt idx="109">
                  <c:v>376</c:v>
                </c:pt>
                <c:pt idx="110">
                  <c:v>72</c:v>
                </c:pt>
                <c:pt idx="111">
                  <c:v>344</c:v>
                </c:pt>
                <c:pt idx="112">
                  <c:v>572</c:v>
                </c:pt>
                <c:pt idx="113">
                  <c:v>497</c:v>
                </c:pt>
                <c:pt idx="114">
                  <c:v>454</c:v>
                </c:pt>
                <c:pt idx="115">
                  <c:v>550</c:v>
                </c:pt>
                <c:pt idx="116">
                  <c:v>296</c:v>
                </c:pt>
                <c:pt idx="117">
                  <c:v>63</c:v>
                </c:pt>
                <c:pt idx="118">
                  <c:v>247</c:v>
                </c:pt>
                <c:pt idx="119">
                  <c:v>456</c:v>
                </c:pt>
                <c:pt idx="120">
                  <c:v>498</c:v>
                </c:pt>
                <c:pt idx="121">
                  <c:v>411</c:v>
                </c:pt>
                <c:pt idx="122">
                  <c:v>281</c:v>
                </c:pt>
                <c:pt idx="123">
                  <c:v>177</c:v>
                </c:pt>
                <c:pt idx="124">
                  <c:v>111</c:v>
                </c:pt>
                <c:pt idx="125">
                  <c:v>114</c:v>
                </c:pt>
                <c:pt idx="126">
                  <c:v>261</c:v>
                </c:pt>
                <c:pt idx="127">
                  <c:v>457</c:v>
                </c:pt>
                <c:pt idx="128">
                  <c:v>305</c:v>
                </c:pt>
                <c:pt idx="129">
                  <c:v>379</c:v>
                </c:pt>
                <c:pt idx="130">
                  <c:v>229</c:v>
                </c:pt>
                <c:pt idx="131">
                  <c:v>40</c:v>
                </c:pt>
                <c:pt idx="132">
                  <c:v>192</c:v>
                </c:pt>
                <c:pt idx="133">
                  <c:v>339</c:v>
                </c:pt>
                <c:pt idx="134">
                  <c:v>277</c:v>
                </c:pt>
                <c:pt idx="135">
                  <c:v>239</c:v>
                </c:pt>
                <c:pt idx="136">
                  <c:v>213</c:v>
                </c:pt>
                <c:pt idx="137">
                  <c:v>94</c:v>
                </c:pt>
                <c:pt idx="138">
                  <c:v>37</c:v>
                </c:pt>
                <c:pt idx="139">
                  <c:v>188</c:v>
                </c:pt>
                <c:pt idx="140">
                  <c:v>249</c:v>
                </c:pt>
                <c:pt idx="141">
                  <c:v>142</c:v>
                </c:pt>
                <c:pt idx="142">
                  <c:v>166</c:v>
                </c:pt>
                <c:pt idx="143">
                  <c:v>180</c:v>
                </c:pt>
                <c:pt idx="144">
                  <c:v>64</c:v>
                </c:pt>
                <c:pt idx="145">
                  <c:v>21</c:v>
                </c:pt>
                <c:pt idx="146">
                  <c:v>166</c:v>
                </c:pt>
                <c:pt idx="147">
                  <c:v>216</c:v>
                </c:pt>
                <c:pt idx="148">
                  <c:v>101</c:v>
                </c:pt>
                <c:pt idx="149">
                  <c:v>217</c:v>
                </c:pt>
                <c:pt idx="150">
                  <c:v>150</c:v>
                </c:pt>
                <c:pt idx="151">
                  <c:v>102</c:v>
                </c:pt>
                <c:pt idx="152">
                  <c:v>17</c:v>
                </c:pt>
                <c:pt idx="153">
                  <c:v>81</c:v>
                </c:pt>
                <c:pt idx="154">
                  <c:v>173</c:v>
                </c:pt>
                <c:pt idx="155">
                  <c:v>155</c:v>
                </c:pt>
                <c:pt idx="156">
                  <c:v>103</c:v>
                </c:pt>
                <c:pt idx="157">
                  <c:v>180</c:v>
                </c:pt>
                <c:pt idx="158">
                  <c:v>41</c:v>
                </c:pt>
                <c:pt idx="159">
                  <c:v>23</c:v>
                </c:pt>
                <c:pt idx="160">
                  <c:v>62</c:v>
                </c:pt>
                <c:pt idx="161">
                  <c:v>121</c:v>
                </c:pt>
                <c:pt idx="162">
                  <c:v>80</c:v>
                </c:pt>
                <c:pt idx="163">
                  <c:v>79</c:v>
                </c:pt>
                <c:pt idx="164">
                  <c:v>74</c:v>
                </c:pt>
                <c:pt idx="165">
                  <c:v>42</c:v>
                </c:pt>
                <c:pt idx="166">
                  <c:v>4</c:v>
                </c:pt>
                <c:pt idx="167">
                  <c:v>47</c:v>
                </c:pt>
                <c:pt idx="168">
                  <c:v>60</c:v>
                </c:pt>
                <c:pt idx="169">
                  <c:v>47</c:v>
                </c:pt>
                <c:pt idx="170">
                  <c:v>44</c:v>
                </c:pt>
                <c:pt idx="171">
                  <c:v>44</c:v>
                </c:pt>
                <c:pt idx="172">
                  <c:v>11</c:v>
                </c:pt>
                <c:pt idx="173">
                  <c:v>5</c:v>
                </c:pt>
                <c:pt idx="174">
                  <c:v>28</c:v>
                </c:pt>
                <c:pt idx="175">
                  <c:v>14</c:v>
                </c:pt>
                <c:pt idx="176">
                  <c:v>48</c:v>
                </c:pt>
                <c:pt idx="177">
                  <c:v>33</c:v>
                </c:pt>
                <c:pt idx="178">
                  <c:v>28</c:v>
                </c:pt>
                <c:pt idx="179">
                  <c:v>5</c:v>
                </c:pt>
                <c:pt idx="18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3EA-408B-A1C1-7313214CBD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5</c:v>
                </c:pt>
                <c:pt idx="169">
                  <c:v>91</c:v>
                </c:pt>
                <c:pt idx="170">
                  <c:v>87</c:v>
                </c:pt>
                <c:pt idx="171">
                  <c:v>83</c:v>
                </c:pt>
                <c:pt idx="172">
                  <c:v>79</c:v>
                </c:pt>
                <c:pt idx="173">
                  <c:v>76</c:v>
                </c:pt>
                <c:pt idx="174">
                  <c:v>72</c:v>
                </c:pt>
                <c:pt idx="175">
                  <c:v>68</c:v>
                </c:pt>
                <c:pt idx="176">
                  <c:v>65</c:v>
                </c:pt>
                <c:pt idx="177">
                  <c:v>62</c:v>
                </c:pt>
                <c:pt idx="178">
                  <c:v>58</c:v>
                </c:pt>
                <c:pt idx="179">
                  <c:v>55</c:v>
                </c:pt>
                <c:pt idx="180">
                  <c:v>52</c:v>
                </c:pt>
                <c:pt idx="181">
                  <c:v>49</c:v>
                </c:pt>
                <c:pt idx="182">
                  <c:v>46</c:v>
                </c:pt>
                <c:pt idx="183">
                  <c:v>44</c:v>
                </c:pt>
                <c:pt idx="184">
                  <c:v>41</c:v>
                </c:pt>
                <c:pt idx="185">
                  <c:v>39</c:v>
                </c:pt>
                <c:pt idx="186">
                  <c:v>36</c:v>
                </c:pt>
                <c:pt idx="187">
                  <c:v>34</c:v>
                </c:pt>
                <c:pt idx="188">
                  <c:v>32</c:v>
                </c:pt>
                <c:pt idx="189">
                  <c:v>30</c:v>
                </c:pt>
                <c:pt idx="190">
                  <c:v>29</c:v>
                </c:pt>
                <c:pt idx="191">
                  <c:v>27</c:v>
                </c:pt>
                <c:pt idx="192">
                  <c:v>25</c:v>
                </c:pt>
                <c:pt idx="193">
                  <c:v>24</c:v>
                </c:pt>
                <c:pt idx="194">
                  <c:v>23</c:v>
                </c:pt>
                <c:pt idx="195">
                  <c:v>21</c:v>
                </c:pt>
                <c:pt idx="196">
                  <c:v>20</c:v>
                </c:pt>
                <c:pt idx="197">
                  <c:v>19</c:v>
                </c:pt>
                <c:pt idx="198">
                  <c:v>18</c:v>
                </c:pt>
                <c:pt idx="199">
                  <c:v>16</c:v>
                </c:pt>
                <c:pt idx="200">
                  <c:v>15</c:v>
                </c:pt>
                <c:pt idx="201">
                  <c:v>14</c:v>
                </c:pt>
                <c:pt idx="202">
                  <c:v>14</c:v>
                </c:pt>
                <c:pt idx="203">
                  <c:v>13</c:v>
                </c:pt>
                <c:pt idx="204">
                  <c:v>12</c:v>
                </c:pt>
                <c:pt idx="205">
                  <c:v>11</c:v>
                </c:pt>
                <c:pt idx="206">
                  <c:v>10</c:v>
                </c:pt>
                <c:pt idx="207">
                  <c:v>10</c:v>
                </c:pt>
                <c:pt idx="208">
                  <c:v>9</c:v>
                </c:pt>
                <c:pt idx="209">
                  <c:v>8</c:v>
                </c:pt>
                <c:pt idx="210">
                  <c:v>8</c:v>
                </c:pt>
                <c:pt idx="211">
                  <c:v>7</c:v>
                </c:pt>
                <c:pt idx="212">
                  <c:v>7</c:v>
                </c:pt>
                <c:pt idx="213">
                  <c:v>6</c:v>
                </c:pt>
                <c:pt idx="214">
                  <c:v>6</c:v>
                </c:pt>
                <c:pt idx="21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EA-408B-A1C1-7313214CBD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7</c:v>
                </c:pt>
                <c:pt idx="169">
                  <c:v>96</c:v>
                </c:pt>
                <c:pt idx="170">
                  <c:v>96</c:v>
                </c:pt>
                <c:pt idx="171">
                  <c:v>96</c:v>
                </c:pt>
                <c:pt idx="172">
                  <c:v>95</c:v>
                </c:pt>
                <c:pt idx="173">
                  <c:v>95</c:v>
                </c:pt>
                <c:pt idx="174">
                  <c:v>95</c:v>
                </c:pt>
                <c:pt idx="175">
                  <c:v>96</c:v>
                </c:pt>
                <c:pt idx="176">
                  <c:v>98</c:v>
                </c:pt>
                <c:pt idx="177">
                  <c:v>101</c:v>
                </c:pt>
                <c:pt idx="178">
                  <c:v>103</c:v>
                </c:pt>
                <c:pt idx="179">
                  <c:v>106</c:v>
                </c:pt>
                <c:pt idx="180">
                  <c:v>108</c:v>
                </c:pt>
                <c:pt idx="181">
                  <c:v>111</c:v>
                </c:pt>
                <c:pt idx="182">
                  <c:v>114</c:v>
                </c:pt>
                <c:pt idx="183">
                  <c:v>116</c:v>
                </c:pt>
                <c:pt idx="184">
                  <c:v>119</c:v>
                </c:pt>
                <c:pt idx="185">
                  <c:v>122</c:v>
                </c:pt>
                <c:pt idx="186">
                  <c:v>124</c:v>
                </c:pt>
                <c:pt idx="187">
                  <c:v>127</c:v>
                </c:pt>
                <c:pt idx="188">
                  <c:v>130</c:v>
                </c:pt>
                <c:pt idx="189">
                  <c:v>133</c:v>
                </c:pt>
                <c:pt idx="190">
                  <c:v>136</c:v>
                </c:pt>
                <c:pt idx="191">
                  <c:v>139</c:v>
                </c:pt>
                <c:pt idx="192">
                  <c:v>142</c:v>
                </c:pt>
                <c:pt idx="193">
                  <c:v>145</c:v>
                </c:pt>
                <c:pt idx="194">
                  <c:v>148</c:v>
                </c:pt>
                <c:pt idx="195">
                  <c:v>151</c:v>
                </c:pt>
                <c:pt idx="196">
                  <c:v>154</c:v>
                </c:pt>
                <c:pt idx="197">
                  <c:v>156</c:v>
                </c:pt>
                <c:pt idx="198">
                  <c:v>159</c:v>
                </c:pt>
                <c:pt idx="199">
                  <c:v>161</c:v>
                </c:pt>
                <c:pt idx="200">
                  <c:v>163</c:v>
                </c:pt>
                <c:pt idx="201">
                  <c:v>165</c:v>
                </c:pt>
                <c:pt idx="202">
                  <c:v>166</c:v>
                </c:pt>
                <c:pt idx="203">
                  <c:v>168</c:v>
                </c:pt>
                <c:pt idx="204">
                  <c:v>169</c:v>
                </c:pt>
                <c:pt idx="205">
                  <c:v>170</c:v>
                </c:pt>
                <c:pt idx="206">
                  <c:v>170</c:v>
                </c:pt>
                <c:pt idx="207">
                  <c:v>171</c:v>
                </c:pt>
                <c:pt idx="208">
                  <c:v>171</c:v>
                </c:pt>
                <c:pt idx="209">
                  <c:v>171</c:v>
                </c:pt>
                <c:pt idx="210">
                  <c:v>170</c:v>
                </c:pt>
                <c:pt idx="211">
                  <c:v>170</c:v>
                </c:pt>
                <c:pt idx="212">
                  <c:v>169</c:v>
                </c:pt>
                <c:pt idx="213">
                  <c:v>167</c:v>
                </c:pt>
                <c:pt idx="214">
                  <c:v>166</c:v>
                </c:pt>
                <c:pt idx="215">
                  <c:v>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3EA-408B-A1C1-7313214CBD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3EA-408B-A1C1-7313214CBD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79</c:v>
                </c:pt>
                <c:pt idx="1">
                  <c:v>442</c:v>
                </c:pt>
                <c:pt idx="2">
                  <c:v>456</c:v>
                </c:pt>
                <c:pt idx="3">
                  <c:v>424</c:v>
                </c:pt>
                <c:pt idx="4">
                  <c:v>238</c:v>
                </c:pt>
                <c:pt idx="5">
                  <c:v>98</c:v>
                </c:pt>
                <c:pt idx="6">
                  <c:v>509</c:v>
                </c:pt>
                <c:pt idx="7">
                  <c:v>456</c:v>
                </c:pt>
                <c:pt idx="8">
                  <c:v>773</c:v>
                </c:pt>
                <c:pt idx="9">
                  <c:v>571</c:v>
                </c:pt>
                <c:pt idx="10">
                  <c:v>652</c:v>
                </c:pt>
                <c:pt idx="11">
                  <c:v>316</c:v>
                </c:pt>
                <c:pt idx="12">
                  <c:v>171</c:v>
                </c:pt>
                <c:pt idx="13">
                  <c:v>465</c:v>
                </c:pt>
                <c:pt idx="14">
                  <c:v>688</c:v>
                </c:pt>
                <c:pt idx="15">
                  <c:v>682</c:v>
                </c:pt>
                <c:pt idx="16">
                  <c:v>453</c:v>
                </c:pt>
                <c:pt idx="17">
                  <c:v>1196</c:v>
                </c:pt>
                <c:pt idx="18">
                  <c:v>292</c:v>
                </c:pt>
                <c:pt idx="19">
                  <c:v>377</c:v>
                </c:pt>
                <c:pt idx="20">
                  <c:v>725</c:v>
                </c:pt>
                <c:pt idx="21">
                  <c:v>945</c:v>
                </c:pt>
                <c:pt idx="22">
                  <c:v>1830</c:v>
                </c:pt>
                <c:pt idx="23">
                  <c:v>193</c:v>
                </c:pt>
                <c:pt idx="24">
                  <c:v>224</c:v>
                </c:pt>
                <c:pt idx="25">
                  <c:v>164</c:v>
                </c:pt>
                <c:pt idx="26">
                  <c:v>180</c:v>
                </c:pt>
                <c:pt idx="27">
                  <c:v>767</c:v>
                </c:pt>
                <c:pt idx="28">
                  <c:v>1473</c:v>
                </c:pt>
                <c:pt idx="29">
                  <c:v>1673</c:v>
                </c:pt>
                <c:pt idx="30">
                  <c:v>1130</c:v>
                </c:pt>
                <c:pt idx="31">
                  <c:v>407</c:v>
                </c:pt>
                <c:pt idx="32">
                  <c:v>381</c:v>
                </c:pt>
                <c:pt idx="33">
                  <c:v>303</c:v>
                </c:pt>
                <c:pt idx="34">
                  <c:v>1096</c:v>
                </c:pt>
                <c:pt idx="35">
                  <c:v>1810</c:v>
                </c:pt>
                <c:pt idx="36">
                  <c:v>1839</c:v>
                </c:pt>
                <c:pt idx="37">
                  <c:v>1450</c:v>
                </c:pt>
                <c:pt idx="38">
                  <c:v>1506</c:v>
                </c:pt>
                <c:pt idx="39">
                  <c:v>655</c:v>
                </c:pt>
                <c:pt idx="40">
                  <c:v>308</c:v>
                </c:pt>
                <c:pt idx="41">
                  <c:v>769</c:v>
                </c:pt>
                <c:pt idx="42">
                  <c:v>1129</c:v>
                </c:pt>
                <c:pt idx="43">
                  <c:v>965</c:v>
                </c:pt>
                <c:pt idx="44">
                  <c:v>833</c:v>
                </c:pt>
                <c:pt idx="45">
                  <c:v>1027</c:v>
                </c:pt>
                <c:pt idx="46">
                  <c:v>569</c:v>
                </c:pt>
                <c:pt idx="47">
                  <c:v>251</c:v>
                </c:pt>
                <c:pt idx="48">
                  <c:v>620</c:v>
                </c:pt>
                <c:pt idx="49">
                  <c:v>804</c:v>
                </c:pt>
                <c:pt idx="50">
                  <c:v>852</c:v>
                </c:pt>
                <c:pt idx="51">
                  <c:v>714</c:v>
                </c:pt>
                <c:pt idx="52">
                  <c:v>849</c:v>
                </c:pt>
                <c:pt idx="53">
                  <c:v>350</c:v>
                </c:pt>
                <c:pt idx="54">
                  <c:v>190</c:v>
                </c:pt>
                <c:pt idx="55">
                  <c:v>565</c:v>
                </c:pt>
                <c:pt idx="56">
                  <c:v>821</c:v>
                </c:pt>
                <c:pt idx="57">
                  <c:v>868</c:v>
                </c:pt>
                <c:pt idx="58">
                  <c:v>660</c:v>
                </c:pt>
                <c:pt idx="59">
                  <c:v>760</c:v>
                </c:pt>
                <c:pt idx="60">
                  <c:v>264</c:v>
                </c:pt>
                <c:pt idx="61">
                  <c:v>171</c:v>
                </c:pt>
                <c:pt idx="62">
                  <c:v>633</c:v>
                </c:pt>
                <c:pt idx="63">
                  <c:v>727</c:v>
                </c:pt>
                <c:pt idx="64">
                  <c:v>856</c:v>
                </c:pt>
                <c:pt idx="65">
                  <c:v>544</c:v>
                </c:pt>
                <c:pt idx="66">
                  <c:v>726</c:v>
                </c:pt>
                <c:pt idx="67">
                  <c:v>381</c:v>
                </c:pt>
                <c:pt idx="68">
                  <c:v>201</c:v>
                </c:pt>
                <c:pt idx="69">
                  <c:v>641</c:v>
                </c:pt>
                <c:pt idx="70">
                  <c:v>909</c:v>
                </c:pt>
                <c:pt idx="71">
                  <c:v>734</c:v>
                </c:pt>
                <c:pt idx="72">
                  <c:v>685</c:v>
                </c:pt>
                <c:pt idx="73">
                  <c:v>878</c:v>
                </c:pt>
                <c:pt idx="74">
                  <c:v>157</c:v>
                </c:pt>
                <c:pt idx="75">
                  <c:v>329</c:v>
                </c:pt>
                <c:pt idx="76">
                  <c:v>662</c:v>
                </c:pt>
                <c:pt idx="77">
                  <c:v>1101</c:v>
                </c:pt>
                <c:pt idx="78">
                  <c:v>782</c:v>
                </c:pt>
                <c:pt idx="79">
                  <c:v>804</c:v>
                </c:pt>
                <c:pt idx="80">
                  <c:v>1062</c:v>
                </c:pt>
                <c:pt idx="81">
                  <c:v>251</c:v>
                </c:pt>
                <c:pt idx="82">
                  <c:v>383</c:v>
                </c:pt>
                <c:pt idx="83">
                  <c:v>1050</c:v>
                </c:pt>
                <c:pt idx="84">
                  <c:v>1240</c:v>
                </c:pt>
                <c:pt idx="85">
                  <c:v>1080</c:v>
                </c:pt>
                <c:pt idx="86">
                  <c:v>1206</c:v>
                </c:pt>
                <c:pt idx="87">
                  <c:v>1101</c:v>
                </c:pt>
                <c:pt idx="88">
                  <c:v>677</c:v>
                </c:pt>
                <c:pt idx="89">
                  <c:v>322</c:v>
                </c:pt>
                <c:pt idx="90">
                  <c:v>1152</c:v>
                </c:pt>
                <c:pt idx="91">
                  <c:v>1449</c:v>
                </c:pt>
                <c:pt idx="92">
                  <c:v>1410</c:v>
                </c:pt>
                <c:pt idx="93">
                  <c:v>1157</c:v>
                </c:pt>
                <c:pt idx="94">
                  <c:v>1380</c:v>
                </c:pt>
                <c:pt idx="95">
                  <c:v>716</c:v>
                </c:pt>
                <c:pt idx="96">
                  <c:v>344</c:v>
                </c:pt>
                <c:pt idx="97">
                  <c:v>1000</c:v>
                </c:pt>
                <c:pt idx="98">
                  <c:v>1519</c:v>
                </c:pt>
                <c:pt idx="99">
                  <c:v>1163</c:v>
                </c:pt>
                <c:pt idx="100">
                  <c:v>886</c:v>
                </c:pt>
                <c:pt idx="101">
                  <c:v>1468</c:v>
                </c:pt>
                <c:pt idx="102">
                  <c:v>678</c:v>
                </c:pt>
                <c:pt idx="103">
                  <c:v>279</c:v>
                </c:pt>
                <c:pt idx="104">
                  <c:v>974</c:v>
                </c:pt>
                <c:pt idx="105">
                  <c:v>1493</c:v>
                </c:pt>
                <c:pt idx="106">
                  <c:v>1143</c:v>
                </c:pt>
                <c:pt idx="107">
                  <c:v>1000</c:v>
                </c:pt>
                <c:pt idx="108">
                  <c:v>1002</c:v>
                </c:pt>
                <c:pt idx="109">
                  <c:v>386</c:v>
                </c:pt>
                <c:pt idx="110">
                  <c:v>221</c:v>
                </c:pt>
                <c:pt idx="111">
                  <c:v>828</c:v>
                </c:pt>
                <c:pt idx="112">
                  <c:v>1118</c:v>
                </c:pt>
                <c:pt idx="113">
                  <c:v>840</c:v>
                </c:pt>
                <c:pt idx="114">
                  <c:v>934</c:v>
                </c:pt>
                <c:pt idx="115">
                  <c:v>683</c:v>
                </c:pt>
                <c:pt idx="116">
                  <c:v>461</c:v>
                </c:pt>
                <c:pt idx="117">
                  <c:v>183</c:v>
                </c:pt>
                <c:pt idx="118">
                  <c:v>776</c:v>
                </c:pt>
                <c:pt idx="119">
                  <c:v>953</c:v>
                </c:pt>
                <c:pt idx="120">
                  <c:v>859</c:v>
                </c:pt>
                <c:pt idx="121">
                  <c:v>721</c:v>
                </c:pt>
                <c:pt idx="122">
                  <c:v>403</c:v>
                </c:pt>
                <c:pt idx="123">
                  <c:v>183</c:v>
                </c:pt>
                <c:pt idx="124">
                  <c:v>160</c:v>
                </c:pt>
                <c:pt idx="125">
                  <c:v>95</c:v>
                </c:pt>
                <c:pt idx="126">
                  <c:v>582</c:v>
                </c:pt>
                <c:pt idx="127">
                  <c:v>868</c:v>
                </c:pt>
                <c:pt idx="128">
                  <c:v>523</c:v>
                </c:pt>
                <c:pt idx="129">
                  <c:v>519</c:v>
                </c:pt>
                <c:pt idx="130">
                  <c:v>220</c:v>
                </c:pt>
                <c:pt idx="131">
                  <c:v>90</c:v>
                </c:pt>
                <c:pt idx="132">
                  <c:v>363</c:v>
                </c:pt>
                <c:pt idx="133">
                  <c:v>550</c:v>
                </c:pt>
                <c:pt idx="134">
                  <c:v>353</c:v>
                </c:pt>
                <c:pt idx="135">
                  <c:v>370</c:v>
                </c:pt>
                <c:pt idx="136">
                  <c:v>279</c:v>
                </c:pt>
                <c:pt idx="137">
                  <c:v>197</c:v>
                </c:pt>
                <c:pt idx="138">
                  <c:v>65</c:v>
                </c:pt>
                <c:pt idx="139">
                  <c:v>427</c:v>
                </c:pt>
                <c:pt idx="140">
                  <c:v>463</c:v>
                </c:pt>
                <c:pt idx="141">
                  <c:v>290</c:v>
                </c:pt>
                <c:pt idx="142">
                  <c:v>363</c:v>
                </c:pt>
                <c:pt idx="143">
                  <c:v>246</c:v>
                </c:pt>
                <c:pt idx="144">
                  <c:v>113</c:v>
                </c:pt>
                <c:pt idx="145">
                  <c:v>179</c:v>
                </c:pt>
                <c:pt idx="146">
                  <c:v>290</c:v>
                </c:pt>
                <c:pt idx="147">
                  <c:v>406</c:v>
                </c:pt>
                <c:pt idx="148">
                  <c:v>241</c:v>
                </c:pt>
                <c:pt idx="149">
                  <c:v>237</c:v>
                </c:pt>
                <c:pt idx="150">
                  <c:v>290</c:v>
                </c:pt>
                <c:pt idx="151">
                  <c:v>120</c:v>
                </c:pt>
                <c:pt idx="152">
                  <c:v>67</c:v>
                </c:pt>
                <c:pt idx="153">
                  <c:v>211</c:v>
                </c:pt>
                <c:pt idx="154">
                  <c:v>310</c:v>
                </c:pt>
                <c:pt idx="155">
                  <c:v>208</c:v>
                </c:pt>
                <c:pt idx="156">
                  <c:v>192</c:v>
                </c:pt>
                <c:pt idx="157">
                  <c:v>203</c:v>
                </c:pt>
                <c:pt idx="158">
                  <c:v>87</c:v>
                </c:pt>
                <c:pt idx="159">
                  <c:v>73</c:v>
                </c:pt>
                <c:pt idx="160">
                  <c:v>167</c:v>
                </c:pt>
                <c:pt idx="161">
                  <c:v>224</c:v>
                </c:pt>
                <c:pt idx="162">
                  <c:v>158</c:v>
                </c:pt>
                <c:pt idx="163">
                  <c:v>131</c:v>
                </c:pt>
                <c:pt idx="164">
                  <c:v>98</c:v>
                </c:pt>
                <c:pt idx="165">
                  <c:v>100</c:v>
                </c:pt>
                <c:pt idx="166">
                  <c:v>59</c:v>
                </c:pt>
                <c:pt idx="167">
                  <c:v>100</c:v>
                </c:pt>
                <c:pt idx="168">
                  <c:v>167</c:v>
                </c:pt>
                <c:pt idx="169">
                  <c:v>112</c:v>
                </c:pt>
                <c:pt idx="170">
                  <c:v>60</c:v>
                </c:pt>
                <c:pt idx="171">
                  <c:v>85</c:v>
                </c:pt>
                <c:pt idx="172">
                  <c:v>31</c:v>
                </c:pt>
                <c:pt idx="173">
                  <c:v>40</c:v>
                </c:pt>
                <c:pt idx="174">
                  <c:v>61</c:v>
                </c:pt>
                <c:pt idx="175">
                  <c:v>77</c:v>
                </c:pt>
                <c:pt idx="176">
                  <c:v>61</c:v>
                </c:pt>
                <c:pt idx="177">
                  <c:v>65</c:v>
                </c:pt>
                <c:pt idx="178">
                  <c:v>30</c:v>
                </c:pt>
                <c:pt idx="179">
                  <c:v>27</c:v>
                </c:pt>
                <c:pt idx="18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69-428C-AE4D-58E2B1A146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69-428C-AE4D-58E2B1A146B6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156</c:v>
                </c:pt>
                <c:pt idx="89">
                  <c:v>1176</c:v>
                </c:pt>
                <c:pt idx="90">
                  <c:v>1193</c:v>
                </c:pt>
                <c:pt idx="91">
                  <c:v>1208</c:v>
                </c:pt>
                <c:pt idx="92">
                  <c:v>1222</c:v>
                </c:pt>
                <c:pt idx="93">
                  <c:v>1235</c:v>
                </c:pt>
                <c:pt idx="94">
                  <c:v>1246</c:v>
                </c:pt>
                <c:pt idx="95">
                  <c:v>1257</c:v>
                </c:pt>
                <c:pt idx="96">
                  <c:v>1268</c:v>
                </c:pt>
                <c:pt idx="97">
                  <c:v>1277</c:v>
                </c:pt>
                <c:pt idx="98">
                  <c:v>1286</c:v>
                </c:pt>
                <c:pt idx="99">
                  <c:v>1294</c:v>
                </c:pt>
                <c:pt idx="100">
                  <c:v>1302</c:v>
                </c:pt>
                <c:pt idx="101">
                  <c:v>1309</c:v>
                </c:pt>
                <c:pt idx="102">
                  <c:v>1316</c:v>
                </c:pt>
                <c:pt idx="103">
                  <c:v>1321</c:v>
                </c:pt>
                <c:pt idx="104">
                  <c:v>1327</c:v>
                </c:pt>
                <c:pt idx="105">
                  <c:v>1331</c:v>
                </c:pt>
                <c:pt idx="106">
                  <c:v>1335</c:v>
                </c:pt>
                <c:pt idx="107">
                  <c:v>1339</c:v>
                </c:pt>
                <c:pt idx="108">
                  <c:v>1342</c:v>
                </c:pt>
                <c:pt idx="109">
                  <c:v>1344</c:v>
                </c:pt>
                <c:pt idx="110">
                  <c:v>1346</c:v>
                </c:pt>
                <c:pt idx="111">
                  <c:v>1348</c:v>
                </c:pt>
                <c:pt idx="112">
                  <c:v>1349</c:v>
                </c:pt>
                <c:pt idx="113">
                  <c:v>1349</c:v>
                </c:pt>
                <c:pt idx="114">
                  <c:v>1349</c:v>
                </c:pt>
                <c:pt idx="115">
                  <c:v>1348</c:v>
                </c:pt>
                <c:pt idx="116">
                  <c:v>1346</c:v>
                </c:pt>
                <c:pt idx="117">
                  <c:v>1345</c:v>
                </c:pt>
                <c:pt idx="118">
                  <c:v>1342</c:v>
                </c:pt>
                <c:pt idx="119">
                  <c:v>1340</c:v>
                </c:pt>
                <c:pt idx="120">
                  <c:v>1336</c:v>
                </c:pt>
                <c:pt idx="121">
                  <c:v>1332</c:v>
                </c:pt>
                <c:pt idx="122">
                  <c:v>1328</c:v>
                </c:pt>
                <c:pt idx="123">
                  <c:v>1323</c:v>
                </c:pt>
                <c:pt idx="124">
                  <c:v>1318</c:v>
                </c:pt>
                <c:pt idx="125">
                  <c:v>1312</c:v>
                </c:pt>
                <c:pt idx="126">
                  <c:v>1306</c:v>
                </c:pt>
                <c:pt idx="127">
                  <c:v>1300</c:v>
                </c:pt>
                <c:pt idx="128">
                  <c:v>1293</c:v>
                </c:pt>
                <c:pt idx="129">
                  <c:v>1285</c:v>
                </c:pt>
                <c:pt idx="130">
                  <c:v>1277</c:v>
                </c:pt>
                <c:pt idx="131">
                  <c:v>1269</c:v>
                </c:pt>
                <c:pt idx="132">
                  <c:v>1261</c:v>
                </c:pt>
                <c:pt idx="133">
                  <c:v>1252</c:v>
                </c:pt>
                <c:pt idx="134">
                  <c:v>1242</c:v>
                </c:pt>
                <c:pt idx="135">
                  <c:v>1232</c:v>
                </c:pt>
                <c:pt idx="136">
                  <c:v>1222</c:v>
                </c:pt>
                <c:pt idx="137">
                  <c:v>1212</c:v>
                </c:pt>
                <c:pt idx="138">
                  <c:v>1201</c:v>
                </c:pt>
                <c:pt idx="139">
                  <c:v>1190</c:v>
                </c:pt>
                <c:pt idx="140">
                  <c:v>1179</c:v>
                </c:pt>
                <c:pt idx="141">
                  <c:v>1167</c:v>
                </c:pt>
                <c:pt idx="142">
                  <c:v>1156</c:v>
                </c:pt>
                <c:pt idx="143">
                  <c:v>1144</c:v>
                </c:pt>
                <c:pt idx="144">
                  <c:v>1131</c:v>
                </c:pt>
                <c:pt idx="145">
                  <c:v>1119</c:v>
                </c:pt>
                <c:pt idx="146">
                  <c:v>1106</c:v>
                </c:pt>
                <c:pt idx="147">
                  <c:v>1093</c:v>
                </c:pt>
                <c:pt idx="148">
                  <c:v>1080</c:v>
                </c:pt>
                <c:pt idx="149">
                  <c:v>1067</c:v>
                </c:pt>
                <c:pt idx="150">
                  <c:v>1054</c:v>
                </c:pt>
                <c:pt idx="151">
                  <c:v>1040</c:v>
                </c:pt>
                <c:pt idx="152">
                  <c:v>1027</c:v>
                </c:pt>
                <c:pt idx="153">
                  <c:v>1013</c:v>
                </c:pt>
                <c:pt idx="154">
                  <c:v>999</c:v>
                </c:pt>
                <c:pt idx="155">
                  <c:v>985</c:v>
                </c:pt>
                <c:pt idx="156">
                  <c:v>971</c:v>
                </c:pt>
                <c:pt idx="157">
                  <c:v>957</c:v>
                </c:pt>
                <c:pt idx="158">
                  <c:v>943</c:v>
                </c:pt>
                <c:pt idx="159">
                  <c:v>929</c:v>
                </c:pt>
                <c:pt idx="160">
                  <c:v>915</c:v>
                </c:pt>
                <c:pt idx="161">
                  <c:v>901</c:v>
                </c:pt>
                <c:pt idx="162">
                  <c:v>887</c:v>
                </c:pt>
                <c:pt idx="163">
                  <c:v>873</c:v>
                </c:pt>
                <c:pt idx="164">
                  <c:v>859</c:v>
                </c:pt>
                <c:pt idx="165">
                  <c:v>845</c:v>
                </c:pt>
                <c:pt idx="166">
                  <c:v>831</c:v>
                </c:pt>
                <c:pt idx="167">
                  <c:v>817</c:v>
                </c:pt>
                <c:pt idx="168">
                  <c:v>803</c:v>
                </c:pt>
                <c:pt idx="169">
                  <c:v>789</c:v>
                </c:pt>
                <c:pt idx="170">
                  <c:v>775</c:v>
                </c:pt>
                <c:pt idx="171">
                  <c:v>762</c:v>
                </c:pt>
                <c:pt idx="172">
                  <c:v>748</c:v>
                </c:pt>
                <c:pt idx="173">
                  <c:v>735</c:v>
                </c:pt>
                <c:pt idx="174">
                  <c:v>721</c:v>
                </c:pt>
                <c:pt idx="175">
                  <c:v>708</c:v>
                </c:pt>
                <c:pt idx="176">
                  <c:v>695</c:v>
                </c:pt>
                <c:pt idx="177">
                  <c:v>682</c:v>
                </c:pt>
                <c:pt idx="178">
                  <c:v>669</c:v>
                </c:pt>
                <c:pt idx="179">
                  <c:v>656</c:v>
                </c:pt>
                <c:pt idx="180">
                  <c:v>643</c:v>
                </c:pt>
                <c:pt idx="181">
                  <c:v>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369-428C-AE4D-58E2B1A146B6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144</c:v>
                </c:pt>
                <c:pt idx="89">
                  <c:v>1147</c:v>
                </c:pt>
                <c:pt idx="90">
                  <c:v>1143</c:v>
                </c:pt>
                <c:pt idx="91">
                  <c:v>1135</c:v>
                </c:pt>
                <c:pt idx="92">
                  <c:v>1125</c:v>
                </c:pt>
                <c:pt idx="93">
                  <c:v>1113</c:v>
                </c:pt>
                <c:pt idx="94">
                  <c:v>1101</c:v>
                </c:pt>
                <c:pt idx="95">
                  <c:v>1088</c:v>
                </c:pt>
                <c:pt idx="96">
                  <c:v>1074</c:v>
                </c:pt>
                <c:pt idx="97">
                  <c:v>1059</c:v>
                </c:pt>
                <c:pt idx="98">
                  <c:v>1045</c:v>
                </c:pt>
                <c:pt idx="99">
                  <c:v>1030</c:v>
                </c:pt>
                <c:pt idx="100">
                  <c:v>1014</c:v>
                </c:pt>
                <c:pt idx="101">
                  <c:v>998</c:v>
                </c:pt>
                <c:pt idx="102">
                  <c:v>982</c:v>
                </c:pt>
                <c:pt idx="103">
                  <c:v>966</c:v>
                </c:pt>
                <c:pt idx="104">
                  <c:v>950</c:v>
                </c:pt>
                <c:pt idx="105">
                  <c:v>934</c:v>
                </c:pt>
                <c:pt idx="106">
                  <c:v>918</c:v>
                </c:pt>
                <c:pt idx="107">
                  <c:v>902</c:v>
                </c:pt>
                <c:pt idx="108">
                  <c:v>885</c:v>
                </c:pt>
                <c:pt idx="109">
                  <c:v>869</c:v>
                </c:pt>
                <c:pt idx="110">
                  <c:v>853</c:v>
                </c:pt>
                <c:pt idx="111">
                  <c:v>837</c:v>
                </c:pt>
                <c:pt idx="112">
                  <c:v>821</c:v>
                </c:pt>
                <c:pt idx="113">
                  <c:v>805</c:v>
                </c:pt>
                <c:pt idx="114">
                  <c:v>789</c:v>
                </c:pt>
                <c:pt idx="115">
                  <c:v>774</c:v>
                </c:pt>
                <c:pt idx="116">
                  <c:v>758</c:v>
                </c:pt>
                <c:pt idx="117">
                  <c:v>743</c:v>
                </c:pt>
                <c:pt idx="118">
                  <c:v>728</c:v>
                </c:pt>
                <c:pt idx="119">
                  <c:v>713</c:v>
                </c:pt>
                <c:pt idx="120">
                  <c:v>698</c:v>
                </c:pt>
                <c:pt idx="121">
                  <c:v>684</c:v>
                </c:pt>
                <c:pt idx="122">
                  <c:v>669</c:v>
                </c:pt>
                <c:pt idx="123">
                  <c:v>655</c:v>
                </c:pt>
                <c:pt idx="124">
                  <c:v>641</c:v>
                </c:pt>
                <c:pt idx="125">
                  <c:v>627</c:v>
                </c:pt>
                <c:pt idx="126">
                  <c:v>614</c:v>
                </c:pt>
                <c:pt idx="127">
                  <c:v>600</c:v>
                </c:pt>
                <c:pt idx="128">
                  <c:v>587</c:v>
                </c:pt>
                <c:pt idx="129">
                  <c:v>574</c:v>
                </c:pt>
                <c:pt idx="130">
                  <c:v>562</c:v>
                </c:pt>
                <c:pt idx="131">
                  <c:v>549</c:v>
                </c:pt>
                <c:pt idx="132">
                  <c:v>537</c:v>
                </c:pt>
                <c:pt idx="133">
                  <c:v>525</c:v>
                </c:pt>
                <c:pt idx="134">
                  <c:v>513</c:v>
                </c:pt>
                <c:pt idx="135">
                  <c:v>501</c:v>
                </c:pt>
                <c:pt idx="136">
                  <c:v>490</c:v>
                </c:pt>
                <c:pt idx="137">
                  <c:v>478</c:v>
                </c:pt>
                <c:pt idx="138">
                  <c:v>467</c:v>
                </c:pt>
                <c:pt idx="139">
                  <c:v>456</c:v>
                </c:pt>
                <c:pt idx="140">
                  <c:v>446</c:v>
                </c:pt>
                <c:pt idx="141">
                  <c:v>435</c:v>
                </c:pt>
                <c:pt idx="142">
                  <c:v>425</c:v>
                </c:pt>
                <c:pt idx="143">
                  <c:v>415</c:v>
                </c:pt>
                <c:pt idx="144">
                  <c:v>405</c:v>
                </c:pt>
                <c:pt idx="145">
                  <c:v>396</c:v>
                </c:pt>
                <c:pt idx="146">
                  <c:v>386</c:v>
                </c:pt>
                <c:pt idx="147">
                  <c:v>377</c:v>
                </c:pt>
                <c:pt idx="148">
                  <c:v>368</c:v>
                </c:pt>
                <c:pt idx="149">
                  <c:v>359</c:v>
                </c:pt>
                <c:pt idx="150">
                  <c:v>350</c:v>
                </c:pt>
                <c:pt idx="151">
                  <c:v>342</c:v>
                </c:pt>
                <c:pt idx="152">
                  <c:v>333</c:v>
                </c:pt>
                <c:pt idx="153">
                  <c:v>325</c:v>
                </c:pt>
                <c:pt idx="154">
                  <c:v>317</c:v>
                </c:pt>
                <c:pt idx="155">
                  <c:v>310</c:v>
                </c:pt>
                <c:pt idx="156">
                  <c:v>302</c:v>
                </c:pt>
                <c:pt idx="157">
                  <c:v>294</c:v>
                </c:pt>
                <c:pt idx="158">
                  <c:v>287</c:v>
                </c:pt>
                <c:pt idx="159">
                  <c:v>280</c:v>
                </c:pt>
                <c:pt idx="160">
                  <c:v>273</c:v>
                </c:pt>
                <c:pt idx="161">
                  <c:v>266</c:v>
                </c:pt>
                <c:pt idx="162">
                  <c:v>260</c:v>
                </c:pt>
                <c:pt idx="163">
                  <c:v>253</c:v>
                </c:pt>
                <c:pt idx="164">
                  <c:v>247</c:v>
                </c:pt>
                <c:pt idx="165">
                  <c:v>241</c:v>
                </c:pt>
                <c:pt idx="166">
                  <c:v>235</c:v>
                </c:pt>
                <c:pt idx="167">
                  <c:v>229</c:v>
                </c:pt>
                <c:pt idx="168">
                  <c:v>223</c:v>
                </c:pt>
                <c:pt idx="169">
                  <c:v>217</c:v>
                </c:pt>
                <c:pt idx="170">
                  <c:v>212</c:v>
                </c:pt>
                <c:pt idx="171">
                  <c:v>206</c:v>
                </c:pt>
                <c:pt idx="172">
                  <c:v>201</c:v>
                </c:pt>
                <c:pt idx="173">
                  <c:v>196</c:v>
                </c:pt>
                <c:pt idx="174">
                  <c:v>191</c:v>
                </c:pt>
                <c:pt idx="175">
                  <c:v>186</c:v>
                </c:pt>
                <c:pt idx="176">
                  <c:v>181</c:v>
                </c:pt>
                <c:pt idx="177">
                  <c:v>177</c:v>
                </c:pt>
                <c:pt idx="178">
                  <c:v>172</c:v>
                </c:pt>
                <c:pt idx="179">
                  <c:v>168</c:v>
                </c:pt>
                <c:pt idx="180">
                  <c:v>163</c:v>
                </c:pt>
                <c:pt idx="181">
                  <c:v>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369-428C-AE4D-58E2B1A146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579</c:v>
                </c:pt>
                <c:pt idx="1">
                  <c:v>442</c:v>
                </c:pt>
                <c:pt idx="2">
                  <c:v>456</c:v>
                </c:pt>
                <c:pt idx="3">
                  <c:v>424</c:v>
                </c:pt>
                <c:pt idx="4">
                  <c:v>238</c:v>
                </c:pt>
                <c:pt idx="5">
                  <c:v>98</c:v>
                </c:pt>
                <c:pt idx="6">
                  <c:v>509</c:v>
                </c:pt>
                <c:pt idx="7">
                  <c:v>456</c:v>
                </c:pt>
                <c:pt idx="8">
                  <c:v>773</c:v>
                </c:pt>
                <c:pt idx="9">
                  <c:v>571</c:v>
                </c:pt>
                <c:pt idx="10">
                  <c:v>652</c:v>
                </c:pt>
                <c:pt idx="11">
                  <c:v>316</c:v>
                </c:pt>
                <c:pt idx="12">
                  <c:v>171</c:v>
                </c:pt>
                <c:pt idx="13">
                  <c:v>465</c:v>
                </c:pt>
                <c:pt idx="14">
                  <c:v>688</c:v>
                </c:pt>
                <c:pt idx="15">
                  <c:v>682</c:v>
                </c:pt>
                <c:pt idx="16">
                  <c:v>453</c:v>
                </c:pt>
                <c:pt idx="17">
                  <c:v>1196</c:v>
                </c:pt>
                <c:pt idx="18">
                  <c:v>292</c:v>
                </c:pt>
                <c:pt idx="19">
                  <c:v>377</c:v>
                </c:pt>
                <c:pt idx="20">
                  <c:v>725</c:v>
                </c:pt>
                <c:pt idx="21">
                  <c:v>945</c:v>
                </c:pt>
                <c:pt idx="22">
                  <c:v>1830</c:v>
                </c:pt>
                <c:pt idx="23">
                  <c:v>193</c:v>
                </c:pt>
                <c:pt idx="24">
                  <c:v>224</c:v>
                </c:pt>
                <c:pt idx="25">
                  <c:v>164</c:v>
                </c:pt>
                <c:pt idx="26">
                  <c:v>180</c:v>
                </c:pt>
                <c:pt idx="27">
                  <c:v>767</c:v>
                </c:pt>
                <c:pt idx="28">
                  <c:v>1473</c:v>
                </c:pt>
                <c:pt idx="29">
                  <c:v>1673</c:v>
                </c:pt>
                <c:pt idx="30">
                  <c:v>1130</c:v>
                </c:pt>
                <c:pt idx="31">
                  <c:v>407</c:v>
                </c:pt>
                <c:pt idx="32">
                  <c:v>381</c:v>
                </c:pt>
                <c:pt idx="33">
                  <c:v>303</c:v>
                </c:pt>
                <c:pt idx="34">
                  <c:v>1096</c:v>
                </c:pt>
                <c:pt idx="35">
                  <c:v>1810</c:v>
                </c:pt>
                <c:pt idx="36">
                  <c:v>1839</c:v>
                </c:pt>
                <c:pt idx="37">
                  <c:v>1450</c:v>
                </c:pt>
                <c:pt idx="38">
                  <c:v>1506</c:v>
                </c:pt>
                <c:pt idx="39">
                  <c:v>655</c:v>
                </c:pt>
                <c:pt idx="40">
                  <c:v>308</c:v>
                </c:pt>
                <c:pt idx="41">
                  <c:v>769</c:v>
                </c:pt>
                <c:pt idx="42">
                  <c:v>1129</c:v>
                </c:pt>
                <c:pt idx="43">
                  <c:v>965</c:v>
                </c:pt>
                <c:pt idx="44">
                  <c:v>833</c:v>
                </c:pt>
                <c:pt idx="45">
                  <c:v>1027</c:v>
                </c:pt>
                <c:pt idx="46">
                  <c:v>569</c:v>
                </c:pt>
                <c:pt idx="47">
                  <c:v>251</c:v>
                </c:pt>
                <c:pt idx="48">
                  <c:v>620</c:v>
                </c:pt>
                <c:pt idx="49">
                  <c:v>804</c:v>
                </c:pt>
                <c:pt idx="50">
                  <c:v>852</c:v>
                </c:pt>
                <c:pt idx="51">
                  <c:v>714</c:v>
                </c:pt>
                <c:pt idx="52">
                  <c:v>849</c:v>
                </c:pt>
                <c:pt idx="53">
                  <c:v>350</c:v>
                </c:pt>
                <c:pt idx="54">
                  <c:v>190</c:v>
                </c:pt>
                <c:pt idx="55">
                  <c:v>565</c:v>
                </c:pt>
                <c:pt idx="56">
                  <c:v>821</c:v>
                </c:pt>
                <c:pt idx="57">
                  <c:v>868</c:v>
                </c:pt>
                <c:pt idx="58">
                  <c:v>660</c:v>
                </c:pt>
                <c:pt idx="59">
                  <c:v>760</c:v>
                </c:pt>
                <c:pt idx="60">
                  <c:v>264</c:v>
                </c:pt>
                <c:pt idx="61">
                  <c:v>171</c:v>
                </c:pt>
                <c:pt idx="62">
                  <c:v>633</c:v>
                </c:pt>
                <c:pt idx="63">
                  <c:v>727</c:v>
                </c:pt>
                <c:pt idx="64">
                  <c:v>856</c:v>
                </c:pt>
                <c:pt idx="65">
                  <c:v>544</c:v>
                </c:pt>
                <c:pt idx="66">
                  <c:v>726</c:v>
                </c:pt>
                <c:pt idx="67">
                  <c:v>381</c:v>
                </c:pt>
                <c:pt idx="68">
                  <c:v>201</c:v>
                </c:pt>
                <c:pt idx="69">
                  <c:v>641</c:v>
                </c:pt>
                <c:pt idx="70">
                  <c:v>909</c:v>
                </c:pt>
                <c:pt idx="71">
                  <c:v>734</c:v>
                </c:pt>
                <c:pt idx="72">
                  <c:v>685</c:v>
                </c:pt>
                <c:pt idx="73">
                  <c:v>878</c:v>
                </c:pt>
                <c:pt idx="74">
                  <c:v>157</c:v>
                </c:pt>
                <c:pt idx="75">
                  <c:v>329</c:v>
                </c:pt>
                <c:pt idx="76">
                  <c:v>662</c:v>
                </c:pt>
                <c:pt idx="77">
                  <c:v>1101</c:v>
                </c:pt>
                <c:pt idx="78">
                  <c:v>782</c:v>
                </c:pt>
                <c:pt idx="79">
                  <c:v>804</c:v>
                </c:pt>
                <c:pt idx="80">
                  <c:v>1062</c:v>
                </c:pt>
                <c:pt idx="81">
                  <c:v>251</c:v>
                </c:pt>
                <c:pt idx="82">
                  <c:v>383</c:v>
                </c:pt>
                <c:pt idx="83">
                  <c:v>1050</c:v>
                </c:pt>
                <c:pt idx="84">
                  <c:v>1240</c:v>
                </c:pt>
                <c:pt idx="85">
                  <c:v>1080</c:v>
                </c:pt>
                <c:pt idx="86">
                  <c:v>1206</c:v>
                </c:pt>
                <c:pt idx="87">
                  <c:v>1101</c:v>
                </c:pt>
                <c:pt idx="88">
                  <c:v>677</c:v>
                </c:pt>
                <c:pt idx="89">
                  <c:v>322</c:v>
                </c:pt>
                <c:pt idx="90">
                  <c:v>1152</c:v>
                </c:pt>
                <c:pt idx="91">
                  <c:v>1449</c:v>
                </c:pt>
                <c:pt idx="92">
                  <c:v>1410</c:v>
                </c:pt>
                <c:pt idx="93">
                  <c:v>1157</c:v>
                </c:pt>
                <c:pt idx="94">
                  <c:v>1380</c:v>
                </c:pt>
                <c:pt idx="95">
                  <c:v>716</c:v>
                </c:pt>
                <c:pt idx="96">
                  <c:v>344</c:v>
                </c:pt>
                <c:pt idx="97">
                  <c:v>1000</c:v>
                </c:pt>
                <c:pt idx="98">
                  <c:v>1519</c:v>
                </c:pt>
                <c:pt idx="99">
                  <c:v>1163</c:v>
                </c:pt>
                <c:pt idx="100">
                  <c:v>886</c:v>
                </c:pt>
                <c:pt idx="101">
                  <c:v>1468</c:v>
                </c:pt>
                <c:pt idx="102">
                  <c:v>678</c:v>
                </c:pt>
                <c:pt idx="103">
                  <c:v>279</c:v>
                </c:pt>
                <c:pt idx="104">
                  <c:v>974</c:v>
                </c:pt>
                <c:pt idx="105">
                  <c:v>1493</c:v>
                </c:pt>
                <c:pt idx="106">
                  <c:v>1143</c:v>
                </c:pt>
                <c:pt idx="107">
                  <c:v>1000</c:v>
                </c:pt>
                <c:pt idx="108">
                  <c:v>1002</c:v>
                </c:pt>
                <c:pt idx="109">
                  <c:v>386</c:v>
                </c:pt>
                <c:pt idx="110">
                  <c:v>221</c:v>
                </c:pt>
                <c:pt idx="111">
                  <c:v>828</c:v>
                </c:pt>
                <c:pt idx="112">
                  <c:v>1118</c:v>
                </c:pt>
                <c:pt idx="113">
                  <c:v>840</c:v>
                </c:pt>
                <c:pt idx="114">
                  <c:v>934</c:v>
                </c:pt>
                <c:pt idx="115">
                  <c:v>683</c:v>
                </c:pt>
                <c:pt idx="116">
                  <c:v>461</c:v>
                </c:pt>
                <c:pt idx="117">
                  <c:v>183</c:v>
                </c:pt>
                <c:pt idx="118">
                  <c:v>776</c:v>
                </c:pt>
                <c:pt idx="119">
                  <c:v>953</c:v>
                </c:pt>
                <c:pt idx="120">
                  <c:v>859</c:v>
                </c:pt>
                <c:pt idx="121">
                  <c:v>721</c:v>
                </c:pt>
                <c:pt idx="122">
                  <c:v>403</c:v>
                </c:pt>
                <c:pt idx="123">
                  <c:v>183</c:v>
                </c:pt>
                <c:pt idx="124">
                  <c:v>160</c:v>
                </c:pt>
                <c:pt idx="125">
                  <c:v>95</c:v>
                </c:pt>
                <c:pt idx="126">
                  <c:v>582</c:v>
                </c:pt>
                <c:pt idx="127">
                  <c:v>868</c:v>
                </c:pt>
                <c:pt idx="128">
                  <c:v>523</c:v>
                </c:pt>
                <c:pt idx="129">
                  <c:v>519</c:v>
                </c:pt>
                <c:pt idx="130">
                  <c:v>220</c:v>
                </c:pt>
                <c:pt idx="131">
                  <c:v>90</c:v>
                </c:pt>
                <c:pt idx="132">
                  <c:v>363</c:v>
                </c:pt>
                <c:pt idx="133">
                  <c:v>550</c:v>
                </c:pt>
                <c:pt idx="134">
                  <c:v>353</c:v>
                </c:pt>
                <c:pt idx="135">
                  <c:v>370</c:v>
                </c:pt>
                <c:pt idx="136">
                  <c:v>279</c:v>
                </c:pt>
                <c:pt idx="137">
                  <c:v>197</c:v>
                </c:pt>
                <c:pt idx="138">
                  <c:v>65</c:v>
                </c:pt>
                <c:pt idx="139">
                  <c:v>427</c:v>
                </c:pt>
                <c:pt idx="140">
                  <c:v>463</c:v>
                </c:pt>
                <c:pt idx="141">
                  <c:v>290</c:v>
                </c:pt>
                <c:pt idx="142">
                  <c:v>363</c:v>
                </c:pt>
                <c:pt idx="143">
                  <c:v>246</c:v>
                </c:pt>
                <c:pt idx="144">
                  <c:v>113</c:v>
                </c:pt>
                <c:pt idx="145">
                  <c:v>179</c:v>
                </c:pt>
                <c:pt idx="146">
                  <c:v>290</c:v>
                </c:pt>
                <c:pt idx="147">
                  <c:v>406</c:v>
                </c:pt>
                <c:pt idx="148">
                  <c:v>241</c:v>
                </c:pt>
                <c:pt idx="149">
                  <c:v>237</c:v>
                </c:pt>
                <c:pt idx="150">
                  <c:v>290</c:v>
                </c:pt>
                <c:pt idx="151">
                  <c:v>120</c:v>
                </c:pt>
                <c:pt idx="152">
                  <c:v>67</c:v>
                </c:pt>
                <c:pt idx="153">
                  <c:v>211</c:v>
                </c:pt>
                <c:pt idx="154">
                  <c:v>310</c:v>
                </c:pt>
                <c:pt idx="155">
                  <c:v>208</c:v>
                </c:pt>
                <c:pt idx="156">
                  <c:v>192</c:v>
                </c:pt>
                <c:pt idx="157">
                  <c:v>203</c:v>
                </c:pt>
                <c:pt idx="158">
                  <c:v>87</c:v>
                </c:pt>
                <c:pt idx="159">
                  <c:v>73</c:v>
                </c:pt>
                <c:pt idx="160">
                  <c:v>167</c:v>
                </c:pt>
                <c:pt idx="161">
                  <c:v>224</c:v>
                </c:pt>
                <c:pt idx="162">
                  <c:v>158</c:v>
                </c:pt>
                <c:pt idx="163">
                  <c:v>131</c:v>
                </c:pt>
                <c:pt idx="164">
                  <c:v>98</c:v>
                </c:pt>
                <c:pt idx="165">
                  <c:v>100</c:v>
                </c:pt>
                <c:pt idx="166">
                  <c:v>59</c:v>
                </c:pt>
                <c:pt idx="167">
                  <c:v>100</c:v>
                </c:pt>
                <c:pt idx="168">
                  <c:v>167</c:v>
                </c:pt>
                <c:pt idx="169">
                  <c:v>112</c:v>
                </c:pt>
                <c:pt idx="170">
                  <c:v>60</c:v>
                </c:pt>
                <c:pt idx="171">
                  <c:v>85</c:v>
                </c:pt>
                <c:pt idx="172">
                  <c:v>31</c:v>
                </c:pt>
                <c:pt idx="173">
                  <c:v>40</c:v>
                </c:pt>
                <c:pt idx="174">
                  <c:v>61</c:v>
                </c:pt>
                <c:pt idx="175">
                  <c:v>77</c:v>
                </c:pt>
                <c:pt idx="176">
                  <c:v>61</c:v>
                </c:pt>
                <c:pt idx="177">
                  <c:v>65</c:v>
                </c:pt>
                <c:pt idx="178">
                  <c:v>30</c:v>
                </c:pt>
                <c:pt idx="179">
                  <c:v>27</c:v>
                </c:pt>
                <c:pt idx="18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045</c:v>
                </c:pt>
                <c:pt idx="89">
                  <c:v>1044</c:v>
                </c:pt>
                <c:pt idx="90">
                  <c:v>1038</c:v>
                </c:pt>
                <c:pt idx="91">
                  <c:v>1028</c:v>
                </c:pt>
                <c:pt idx="92">
                  <c:v>1016</c:v>
                </c:pt>
                <c:pt idx="93">
                  <c:v>1003</c:v>
                </c:pt>
                <c:pt idx="94">
                  <c:v>989</c:v>
                </c:pt>
                <c:pt idx="95">
                  <c:v>974</c:v>
                </c:pt>
                <c:pt idx="96">
                  <c:v>959</c:v>
                </c:pt>
                <c:pt idx="97">
                  <c:v>943</c:v>
                </c:pt>
                <c:pt idx="98">
                  <c:v>927</c:v>
                </c:pt>
                <c:pt idx="99">
                  <c:v>911</c:v>
                </c:pt>
                <c:pt idx="100">
                  <c:v>894</c:v>
                </c:pt>
                <c:pt idx="101">
                  <c:v>877</c:v>
                </c:pt>
                <c:pt idx="102">
                  <c:v>860</c:v>
                </c:pt>
                <c:pt idx="103">
                  <c:v>842</c:v>
                </c:pt>
                <c:pt idx="104">
                  <c:v>825</c:v>
                </c:pt>
                <c:pt idx="105">
                  <c:v>807</c:v>
                </c:pt>
                <c:pt idx="106">
                  <c:v>790</c:v>
                </c:pt>
                <c:pt idx="107">
                  <c:v>772</c:v>
                </c:pt>
                <c:pt idx="108">
                  <c:v>754</c:v>
                </c:pt>
                <c:pt idx="109">
                  <c:v>737</c:v>
                </c:pt>
                <c:pt idx="110">
                  <c:v>719</c:v>
                </c:pt>
                <c:pt idx="111">
                  <c:v>702</c:v>
                </c:pt>
                <c:pt idx="112">
                  <c:v>684</c:v>
                </c:pt>
                <c:pt idx="113">
                  <c:v>667</c:v>
                </c:pt>
                <c:pt idx="114">
                  <c:v>650</c:v>
                </c:pt>
                <c:pt idx="115">
                  <c:v>633</c:v>
                </c:pt>
                <c:pt idx="116">
                  <c:v>617</c:v>
                </c:pt>
                <c:pt idx="117">
                  <c:v>600</c:v>
                </c:pt>
                <c:pt idx="118">
                  <c:v>584</c:v>
                </c:pt>
                <c:pt idx="119">
                  <c:v>569</c:v>
                </c:pt>
                <c:pt idx="120">
                  <c:v>553</c:v>
                </c:pt>
                <c:pt idx="121">
                  <c:v>538</c:v>
                </c:pt>
                <c:pt idx="122">
                  <c:v>523</c:v>
                </c:pt>
                <c:pt idx="123">
                  <c:v>509</c:v>
                </c:pt>
                <c:pt idx="124">
                  <c:v>495</c:v>
                </c:pt>
                <c:pt idx="125">
                  <c:v>481</c:v>
                </c:pt>
                <c:pt idx="126">
                  <c:v>467</c:v>
                </c:pt>
                <c:pt idx="127">
                  <c:v>454</c:v>
                </c:pt>
                <c:pt idx="128">
                  <c:v>441</c:v>
                </c:pt>
                <c:pt idx="129">
                  <c:v>428</c:v>
                </c:pt>
                <c:pt idx="130">
                  <c:v>416</c:v>
                </c:pt>
                <c:pt idx="131">
                  <c:v>404</c:v>
                </c:pt>
                <c:pt idx="132">
                  <c:v>392</c:v>
                </c:pt>
                <c:pt idx="133">
                  <c:v>380</c:v>
                </c:pt>
                <c:pt idx="134">
                  <c:v>369</c:v>
                </c:pt>
                <c:pt idx="135">
                  <c:v>357</c:v>
                </c:pt>
                <c:pt idx="136">
                  <c:v>346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4</c:v>
                </c:pt>
                <c:pt idx="141">
                  <c:v>295</c:v>
                </c:pt>
                <c:pt idx="142">
                  <c:v>285</c:v>
                </c:pt>
                <c:pt idx="143">
                  <c:v>276</c:v>
                </c:pt>
                <c:pt idx="144">
                  <c:v>267</c:v>
                </c:pt>
                <c:pt idx="145">
                  <c:v>258</c:v>
                </c:pt>
                <c:pt idx="146">
                  <c:v>249</c:v>
                </c:pt>
                <c:pt idx="147">
                  <c:v>241</c:v>
                </c:pt>
                <c:pt idx="148">
                  <c:v>233</c:v>
                </c:pt>
                <c:pt idx="149">
                  <c:v>225</c:v>
                </c:pt>
                <c:pt idx="150">
                  <c:v>217</c:v>
                </c:pt>
                <c:pt idx="151">
                  <c:v>210</c:v>
                </c:pt>
                <c:pt idx="152">
                  <c:v>203</c:v>
                </c:pt>
                <c:pt idx="153">
                  <c:v>196</c:v>
                </c:pt>
                <c:pt idx="154">
                  <c:v>189</c:v>
                </c:pt>
                <c:pt idx="155">
                  <c:v>183</c:v>
                </c:pt>
                <c:pt idx="156">
                  <c:v>176</c:v>
                </c:pt>
                <c:pt idx="157">
                  <c:v>170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7</c:v>
                </c:pt>
                <c:pt idx="162">
                  <c:v>141</c:v>
                </c:pt>
                <c:pt idx="163">
                  <c:v>135</c:v>
                </c:pt>
                <c:pt idx="164">
                  <c:v>129</c:v>
                </c:pt>
                <c:pt idx="165">
                  <c:v>123</c:v>
                </c:pt>
                <c:pt idx="166">
                  <c:v>118</c:v>
                </c:pt>
                <c:pt idx="167">
                  <c:v>112</c:v>
                </c:pt>
                <c:pt idx="168">
                  <c:v>107</c:v>
                </c:pt>
                <c:pt idx="169">
                  <c:v>101</c:v>
                </c:pt>
                <c:pt idx="170">
                  <c:v>96</c:v>
                </c:pt>
                <c:pt idx="171">
                  <c:v>91</c:v>
                </c:pt>
                <c:pt idx="172">
                  <c:v>87</c:v>
                </c:pt>
                <c:pt idx="173">
                  <c:v>82</c:v>
                </c:pt>
                <c:pt idx="174">
                  <c:v>78</c:v>
                </c:pt>
                <c:pt idx="175">
                  <c:v>74</c:v>
                </c:pt>
                <c:pt idx="176">
                  <c:v>70</c:v>
                </c:pt>
                <c:pt idx="177">
                  <c:v>66</c:v>
                </c:pt>
                <c:pt idx="178">
                  <c:v>62</c:v>
                </c:pt>
                <c:pt idx="179">
                  <c:v>59</c:v>
                </c:pt>
                <c:pt idx="180">
                  <c:v>56</c:v>
                </c:pt>
                <c:pt idx="181">
                  <c:v>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144</c:v>
                </c:pt>
                <c:pt idx="89">
                  <c:v>1147</c:v>
                </c:pt>
                <c:pt idx="90">
                  <c:v>1143</c:v>
                </c:pt>
                <c:pt idx="91">
                  <c:v>1135</c:v>
                </c:pt>
                <c:pt idx="92">
                  <c:v>1125</c:v>
                </c:pt>
                <c:pt idx="93">
                  <c:v>1113</c:v>
                </c:pt>
                <c:pt idx="94">
                  <c:v>1101</c:v>
                </c:pt>
                <c:pt idx="95">
                  <c:v>1088</c:v>
                </c:pt>
                <c:pt idx="96">
                  <c:v>1074</c:v>
                </c:pt>
                <c:pt idx="97">
                  <c:v>1059</c:v>
                </c:pt>
                <c:pt idx="98">
                  <c:v>1045</c:v>
                </c:pt>
                <c:pt idx="99">
                  <c:v>1030</c:v>
                </c:pt>
                <c:pt idx="100">
                  <c:v>1014</c:v>
                </c:pt>
                <c:pt idx="101">
                  <c:v>998</c:v>
                </c:pt>
                <c:pt idx="102">
                  <c:v>982</c:v>
                </c:pt>
                <c:pt idx="103">
                  <c:v>966</c:v>
                </c:pt>
                <c:pt idx="104">
                  <c:v>950</c:v>
                </c:pt>
                <c:pt idx="105">
                  <c:v>934</c:v>
                </c:pt>
                <c:pt idx="106">
                  <c:v>918</c:v>
                </c:pt>
                <c:pt idx="107">
                  <c:v>902</c:v>
                </c:pt>
                <c:pt idx="108">
                  <c:v>885</c:v>
                </c:pt>
                <c:pt idx="109">
                  <c:v>869</c:v>
                </c:pt>
                <c:pt idx="110">
                  <c:v>853</c:v>
                </c:pt>
                <c:pt idx="111">
                  <c:v>837</c:v>
                </c:pt>
                <c:pt idx="112">
                  <c:v>821</c:v>
                </c:pt>
                <c:pt idx="113">
                  <c:v>805</c:v>
                </c:pt>
                <c:pt idx="114">
                  <c:v>789</c:v>
                </c:pt>
                <c:pt idx="115">
                  <c:v>774</c:v>
                </c:pt>
                <c:pt idx="116">
                  <c:v>758</c:v>
                </c:pt>
                <c:pt idx="117">
                  <c:v>743</c:v>
                </c:pt>
                <c:pt idx="118">
                  <c:v>728</c:v>
                </c:pt>
                <c:pt idx="119">
                  <c:v>713</c:v>
                </c:pt>
                <c:pt idx="120">
                  <c:v>698</c:v>
                </c:pt>
                <c:pt idx="121">
                  <c:v>684</c:v>
                </c:pt>
                <c:pt idx="122">
                  <c:v>669</c:v>
                </c:pt>
                <c:pt idx="123">
                  <c:v>655</c:v>
                </c:pt>
                <c:pt idx="124">
                  <c:v>641</c:v>
                </c:pt>
                <c:pt idx="125">
                  <c:v>627</c:v>
                </c:pt>
                <c:pt idx="126">
                  <c:v>614</c:v>
                </c:pt>
                <c:pt idx="127">
                  <c:v>600</c:v>
                </c:pt>
                <c:pt idx="128">
                  <c:v>587</c:v>
                </c:pt>
                <c:pt idx="129">
                  <c:v>574</c:v>
                </c:pt>
                <c:pt idx="130">
                  <c:v>562</c:v>
                </c:pt>
                <c:pt idx="131">
                  <c:v>549</c:v>
                </c:pt>
                <c:pt idx="132">
                  <c:v>537</c:v>
                </c:pt>
                <c:pt idx="133">
                  <c:v>525</c:v>
                </c:pt>
                <c:pt idx="134">
                  <c:v>513</c:v>
                </c:pt>
                <c:pt idx="135">
                  <c:v>501</c:v>
                </c:pt>
                <c:pt idx="136">
                  <c:v>490</c:v>
                </c:pt>
                <c:pt idx="137">
                  <c:v>478</c:v>
                </c:pt>
                <c:pt idx="138">
                  <c:v>467</c:v>
                </c:pt>
                <c:pt idx="139">
                  <c:v>456</c:v>
                </c:pt>
                <c:pt idx="140">
                  <c:v>446</c:v>
                </c:pt>
                <c:pt idx="141">
                  <c:v>435</c:v>
                </c:pt>
                <c:pt idx="142">
                  <c:v>425</c:v>
                </c:pt>
                <c:pt idx="143">
                  <c:v>415</c:v>
                </c:pt>
                <c:pt idx="144">
                  <c:v>405</c:v>
                </c:pt>
                <c:pt idx="145">
                  <c:v>396</c:v>
                </c:pt>
                <c:pt idx="146">
                  <c:v>386</c:v>
                </c:pt>
                <c:pt idx="147">
                  <c:v>377</c:v>
                </c:pt>
                <c:pt idx="148">
                  <c:v>368</c:v>
                </c:pt>
                <c:pt idx="149">
                  <c:v>359</c:v>
                </c:pt>
                <c:pt idx="150">
                  <c:v>350</c:v>
                </c:pt>
                <c:pt idx="151">
                  <c:v>342</c:v>
                </c:pt>
                <c:pt idx="152">
                  <c:v>333</c:v>
                </c:pt>
                <c:pt idx="153">
                  <c:v>325</c:v>
                </c:pt>
                <c:pt idx="154">
                  <c:v>317</c:v>
                </c:pt>
                <c:pt idx="155">
                  <c:v>310</c:v>
                </c:pt>
                <c:pt idx="156">
                  <c:v>302</c:v>
                </c:pt>
                <c:pt idx="157">
                  <c:v>294</c:v>
                </c:pt>
                <c:pt idx="158">
                  <c:v>287</c:v>
                </c:pt>
                <c:pt idx="159">
                  <c:v>280</c:v>
                </c:pt>
                <c:pt idx="160">
                  <c:v>273</c:v>
                </c:pt>
                <c:pt idx="161">
                  <c:v>266</c:v>
                </c:pt>
                <c:pt idx="162">
                  <c:v>260</c:v>
                </c:pt>
                <c:pt idx="163">
                  <c:v>253</c:v>
                </c:pt>
                <c:pt idx="164">
                  <c:v>247</c:v>
                </c:pt>
                <c:pt idx="165">
                  <c:v>241</c:v>
                </c:pt>
                <c:pt idx="166">
                  <c:v>235</c:v>
                </c:pt>
                <c:pt idx="167">
                  <c:v>229</c:v>
                </c:pt>
                <c:pt idx="168">
                  <c:v>223</c:v>
                </c:pt>
                <c:pt idx="169">
                  <c:v>217</c:v>
                </c:pt>
                <c:pt idx="170">
                  <c:v>212</c:v>
                </c:pt>
                <c:pt idx="171">
                  <c:v>206</c:v>
                </c:pt>
                <c:pt idx="172">
                  <c:v>201</c:v>
                </c:pt>
                <c:pt idx="173">
                  <c:v>196</c:v>
                </c:pt>
                <c:pt idx="174">
                  <c:v>191</c:v>
                </c:pt>
                <c:pt idx="175">
                  <c:v>186</c:v>
                </c:pt>
                <c:pt idx="176">
                  <c:v>181</c:v>
                </c:pt>
                <c:pt idx="177">
                  <c:v>177</c:v>
                </c:pt>
                <c:pt idx="178">
                  <c:v>172</c:v>
                </c:pt>
                <c:pt idx="179">
                  <c:v>168</c:v>
                </c:pt>
                <c:pt idx="180">
                  <c:v>163</c:v>
                </c:pt>
                <c:pt idx="181">
                  <c:v>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79</c:v>
                </c:pt>
                <c:pt idx="1">
                  <c:v>442</c:v>
                </c:pt>
                <c:pt idx="2">
                  <c:v>456</c:v>
                </c:pt>
                <c:pt idx="3">
                  <c:v>424</c:v>
                </c:pt>
                <c:pt idx="4">
                  <c:v>238</c:v>
                </c:pt>
                <c:pt idx="5">
                  <c:v>98</c:v>
                </c:pt>
                <c:pt idx="6">
                  <c:v>509</c:v>
                </c:pt>
                <c:pt idx="7">
                  <c:v>456</c:v>
                </c:pt>
                <c:pt idx="8">
                  <c:v>773</c:v>
                </c:pt>
                <c:pt idx="9">
                  <c:v>571</c:v>
                </c:pt>
                <c:pt idx="10">
                  <c:v>652</c:v>
                </c:pt>
                <c:pt idx="11">
                  <c:v>316</c:v>
                </c:pt>
                <c:pt idx="12">
                  <c:v>171</c:v>
                </c:pt>
                <c:pt idx="13">
                  <c:v>465</c:v>
                </c:pt>
                <c:pt idx="14">
                  <c:v>688</c:v>
                </c:pt>
                <c:pt idx="15">
                  <c:v>682</c:v>
                </c:pt>
                <c:pt idx="16">
                  <c:v>453</c:v>
                </c:pt>
                <c:pt idx="17">
                  <c:v>1196</c:v>
                </c:pt>
                <c:pt idx="18">
                  <c:v>292</c:v>
                </c:pt>
                <c:pt idx="19">
                  <c:v>377</c:v>
                </c:pt>
                <c:pt idx="20">
                  <c:v>725</c:v>
                </c:pt>
                <c:pt idx="21">
                  <c:v>945</c:v>
                </c:pt>
                <c:pt idx="22">
                  <c:v>1830</c:v>
                </c:pt>
                <c:pt idx="23">
                  <c:v>193</c:v>
                </c:pt>
                <c:pt idx="24">
                  <c:v>224</c:v>
                </c:pt>
                <c:pt idx="25">
                  <c:v>164</c:v>
                </c:pt>
                <c:pt idx="26">
                  <c:v>180</c:v>
                </c:pt>
                <c:pt idx="27">
                  <c:v>767</c:v>
                </c:pt>
                <c:pt idx="28">
                  <c:v>1473</c:v>
                </c:pt>
                <c:pt idx="29">
                  <c:v>1673</c:v>
                </c:pt>
                <c:pt idx="30">
                  <c:v>1130</c:v>
                </c:pt>
                <c:pt idx="31">
                  <c:v>407</c:v>
                </c:pt>
                <c:pt idx="32">
                  <c:v>381</c:v>
                </c:pt>
                <c:pt idx="33">
                  <c:v>303</c:v>
                </c:pt>
                <c:pt idx="34">
                  <c:v>1096</c:v>
                </c:pt>
                <c:pt idx="35">
                  <c:v>1810</c:v>
                </c:pt>
                <c:pt idx="36">
                  <c:v>1839</c:v>
                </c:pt>
                <c:pt idx="37">
                  <c:v>1450</c:v>
                </c:pt>
                <c:pt idx="38">
                  <c:v>1506</c:v>
                </c:pt>
                <c:pt idx="39">
                  <c:v>655</c:v>
                </c:pt>
                <c:pt idx="40">
                  <c:v>308</c:v>
                </c:pt>
                <c:pt idx="41">
                  <c:v>769</c:v>
                </c:pt>
                <c:pt idx="42">
                  <c:v>1129</c:v>
                </c:pt>
                <c:pt idx="43">
                  <c:v>965</c:v>
                </c:pt>
                <c:pt idx="44">
                  <c:v>833</c:v>
                </c:pt>
                <c:pt idx="45">
                  <c:v>1027</c:v>
                </c:pt>
                <c:pt idx="46">
                  <c:v>569</c:v>
                </c:pt>
                <c:pt idx="47">
                  <c:v>251</c:v>
                </c:pt>
                <c:pt idx="48">
                  <c:v>620</c:v>
                </c:pt>
                <c:pt idx="49">
                  <c:v>804</c:v>
                </c:pt>
                <c:pt idx="50">
                  <c:v>852</c:v>
                </c:pt>
                <c:pt idx="51">
                  <c:v>714</c:v>
                </c:pt>
                <c:pt idx="52">
                  <c:v>849</c:v>
                </c:pt>
                <c:pt idx="53">
                  <c:v>350</c:v>
                </c:pt>
                <c:pt idx="54">
                  <c:v>190</c:v>
                </c:pt>
                <c:pt idx="55">
                  <c:v>565</c:v>
                </c:pt>
                <c:pt idx="56">
                  <c:v>821</c:v>
                </c:pt>
                <c:pt idx="57">
                  <c:v>868</c:v>
                </c:pt>
                <c:pt idx="58">
                  <c:v>660</c:v>
                </c:pt>
                <c:pt idx="59">
                  <c:v>760</c:v>
                </c:pt>
                <c:pt idx="60">
                  <c:v>264</c:v>
                </c:pt>
                <c:pt idx="61">
                  <c:v>171</c:v>
                </c:pt>
                <c:pt idx="62">
                  <c:v>633</c:v>
                </c:pt>
                <c:pt idx="63">
                  <c:v>727</c:v>
                </c:pt>
                <c:pt idx="64">
                  <c:v>856</c:v>
                </c:pt>
                <c:pt idx="65">
                  <c:v>544</c:v>
                </c:pt>
                <c:pt idx="66">
                  <c:v>726</c:v>
                </c:pt>
                <c:pt idx="67">
                  <c:v>381</c:v>
                </c:pt>
                <c:pt idx="68">
                  <c:v>201</c:v>
                </c:pt>
                <c:pt idx="69">
                  <c:v>641</c:v>
                </c:pt>
                <c:pt idx="70">
                  <c:v>909</c:v>
                </c:pt>
                <c:pt idx="71">
                  <c:v>734</c:v>
                </c:pt>
                <c:pt idx="72">
                  <c:v>685</c:v>
                </c:pt>
                <c:pt idx="73">
                  <c:v>878</c:v>
                </c:pt>
                <c:pt idx="74">
                  <c:v>157</c:v>
                </c:pt>
                <c:pt idx="75">
                  <c:v>329</c:v>
                </c:pt>
                <c:pt idx="76">
                  <c:v>662</c:v>
                </c:pt>
                <c:pt idx="77">
                  <c:v>1101</c:v>
                </c:pt>
                <c:pt idx="78">
                  <c:v>782</c:v>
                </c:pt>
                <c:pt idx="79">
                  <c:v>804</c:v>
                </c:pt>
                <c:pt idx="80">
                  <c:v>1062</c:v>
                </c:pt>
                <c:pt idx="81">
                  <c:v>251</c:v>
                </c:pt>
                <c:pt idx="82">
                  <c:v>383</c:v>
                </c:pt>
                <c:pt idx="83">
                  <c:v>1050</c:v>
                </c:pt>
                <c:pt idx="84">
                  <c:v>1240</c:v>
                </c:pt>
                <c:pt idx="85">
                  <c:v>1080</c:v>
                </c:pt>
                <c:pt idx="86">
                  <c:v>1206</c:v>
                </c:pt>
                <c:pt idx="87">
                  <c:v>1101</c:v>
                </c:pt>
                <c:pt idx="88">
                  <c:v>677</c:v>
                </c:pt>
                <c:pt idx="89">
                  <c:v>322</c:v>
                </c:pt>
                <c:pt idx="90">
                  <c:v>1152</c:v>
                </c:pt>
                <c:pt idx="91">
                  <c:v>1449</c:v>
                </c:pt>
                <c:pt idx="92">
                  <c:v>1410</c:v>
                </c:pt>
                <c:pt idx="93">
                  <c:v>1157</c:v>
                </c:pt>
                <c:pt idx="94">
                  <c:v>1380</c:v>
                </c:pt>
                <c:pt idx="95">
                  <c:v>716</c:v>
                </c:pt>
                <c:pt idx="96">
                  <c:v>344</c:v>
                </c:pt>
                <c:pt idx="97">
                  <c:v>1000</c:v>
                </c:pt>
                <c:pt idx="98">
                  <c:v>1519</c:v>
                </c:pt>
                <c:pt idx="99">
                  <c:v>1163</c:v>
                </c:pt>
                <c:pt idx="100">
                  <c:v>886</c:v>
                </c:pt>
                <c:pt idx="101">
                  <c:v>1468</c:v>
                </c:pt>
                <c:pt idx="102">
                  <c:v>678</c:v>
                </c:pt>
                <c:pt idx="103">
                  <c:v>279</c:v>
                </c:pt>
                <c:pt idx="104">
                  <c:v>974</c:v>
                </c:pt>
                <c:pt idx="105">
                  <c:v>1493</c:v>
                </c:pt>
                <c:pt idx="106">
                  <c:v>1143</c:v>
                </c:pt>
                <c:pt idx="107">
                  <c:v>1000</c:v>
                </c:pt>
                <c:pt idx="108">
                  <c:v>1002</c:v>
                </c:pt>
                <c:pt idx="109">
                  <c:v>386</c:v>
                </c:pt>
                <c:pt idx="110">
                  <c:v>221</c:v>
                </c:pt>
                <c:pt idx="111">
                  <c:v>828</c:v>
                </c:pt>
                <c:pt idx="112">
                  <c:v>1118</c:v>
                </c:pt>
                <c:pt idx="113">
                  <c:v>840</c:v>
                </c:pt>
                <c:pt idx="114">
                  <c:v>934</c:v>
                </c:pt>
                <c:pt idx="115">
                  <c:v>683</c:v>
                </c:pt>
                <c:pt idx="116">
                  <c:v>461</c:v>
                </c:pt>
                <c:pt idx="117">
                  <c:v>183</c:v>
                </c:pt>
                <c:pt idx="118">
                  <c:v>776</c:v>
                </c:pt>
                <c:pt idx="119">
                  <c:v>953</c:v>
                </c:pt>
                <c:pt idx="120">
                  <c:v>859</c:v>
                </c:pt>
                <c:pt idx="121">
                  <c:v>721</c:v>
                </c:pt>
                <c:pt idx="122">
                  <c:v>403</c:v>
                </c:pt>
                <c:pt idx="123">
                  <c:v>183</c:v>
                </c:pt>
                <c:pt idx="124">
                  <c:v>160</c:v>
                </c:pt>
                <c:pt idx="125">
                  <c:v>95</c:v>
                </c:pt>
                <c:pt idx="126">
                  <c:v>582</c:v>
                </c:pt>
                <c:pt idx="127">
                  <c:v>868</c:v>
                </c:pt>
                <c:pt idx="128">
                  <c:v>523</c:v>
                </c:pt>
                <c:pt idx="129">
                  <c:v>519</c:v>
                </c:pt>
                <c:pt idx="130">
                  <c:v>220</c:v>
                </c:pt>
                <c:pt idx="131">
                  <c:v>90</c:v>
                </c:pt>
                <c:pt idx="132">
                  <c:v>363</c:v>
                </c:pt>
                <c:pt idx="133">
                  <c:v>550</c:v>
                </c:pt>
                <c:pt idx="134">
                  <c:v>353</c:v>
                </c:pt>
                <c:pt idx="135">
                  <c:v>370</c:v>
                </c:pt>
                <c:pt idx="136">
                  <c:v>279</c:v>
                </c:pt>
                <c:pt idx="137">
                  <c:v>197</c:v>
                </c:pt>
                <c:pt idx="138">
                  <c:v>65</c:v>
                </c:pt>
                <c:pt idx="139">
                  <c:v>427</c:v>
                </c:pt>
                <c:pt idx="140">
                  <c:v>463</c:v>
                </c:pt>
                <c:pt idx="141">
                  <c:v>290</c:v>
                </c:pt>
                <c:pt idx="142">
                  <c:v>363</c:v>
                </c:pt>
                <c:pt idx="143">
                  <c:v>246</c:v>
                </c:pt>
                <c:pt idx="144">
                  <c:v>113</c:v>
                </c:pt>
                <c:pt idx="145">
                  <c:v>179</c:v>
                </c:pt>
                <c:pt idx="146">
                  <c:v>290</c:v>
                </c:pt>
                <c:pt idx="147">
                  <c:v>406</c:v>
                </c:pt>
                <c:pt idx="148">
                  <c:v>241</c:v>
                </c:pt>
                <c:pt idx="149">
                  <c:v>237</c:v>
                </c:pt>
                <c:pt idx="150">
                  <c:v>290</c:v>
                </c:pt>
                <c:pt idx="151">
                  <c:v>120</c:v>
                </c:pt>
                <c:pt idx="152">
                  <c:v>67</c:v>
                </c:pt>
                <c:pt idx="153">
                  <c:v>211</c:v>
                </c:pt>
                <c:pt idx="154">
                  <c:v>310</c:v>
                </c:pt>
                <c:pt idx="155">
                  <c:v>208</c:v>
                </c:pt>
                <c:pt idx="156">
                  <c:v>192</c:v>
                </c:pt>
                <c:pt idx="157">
                  <c:v>203</c:v>
                </c:pt>
                <c:pt idx="158">
                  <c:v>87</c:v>
                </c:pt>
                <c:pt idx="159">
                  <c:v>73</c:v>
                </c:pt>
                <c:pt idx="160">
                  <c:v>167</c:v>
                </c:pt>
                <c:pt idx="161">
                  <c:v>224</c:v>
                </c:pt>
                <c:pt idx="162">
                  <c:v>158</c:v>
                </c:pt>
                <c:pt idx="163">
                  <c:v>131</c:v>
                </c:pt>
                <c:pt idx="164">
                  <c:v>98</c:v>
                </c:pt>
                <c:pt idx="165">
                  <c:v>100</c:v>
                </c:pt>
                <c:pt idx="166">
                  <c:v>59</c:v>
                </c:pt>
                <c:pt idx="167">
                  <c:v>100</c:v>
                </c:pt>
                <c:pt idx="168">
                  <c:v>167</c:v>
                </c:pt>
                <c:pt idx="169">
                  <c:v>112</c:v>
                </c:pt>
                <c:pt idx="170">
                  <c:v>60</c:v>
                </c:pt>
                <c:pt idx="171">
                  <c:v>85</c:v>
                </c:pt>
                <c:pt idx="172">
                  <c:v>31</c:v>
                </c:pt>
                <c:pt idx="173">
                  <c:v>40</c:v>
                </c:pt>
                <c:pt idx="174">
                  <c:v>61</c:v>
                </c:pt>
                <c:pt idx="175">
                  <c:v>77</c:v>
                </c:pt>
                <c:pt idx="176">
                  <c:v>61</c:v>
                </c:pt>
                <c:pt idx="177">
                  <c:v>65</c:v>
                </c:pt>
                <c:pt idx="178">
                  <c:v>30</c:v>
                </c:pt>
                <c:pt idx="179">
                  <c:v>27</c:v>
                </c:pt>
                <c:pt idx="18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F-43B8-A45A-D0CEB67792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0</c:v>
                </c:pt>
                <c:pt idx="169">
                  <c:v>153</c:v>
                </c:pt>
                <c:pt idx="170">
                  <c:v>147</c:v>
                </c:pt>
                <c:pt idx="171">
                  <c:v>140</c:v>
                </c:pt>
                <c:pt idx="172">
                  <c:v>134</c:v>
                </c:pt>
                <c:pt idx="173">
                  <c:v>127</c:v>
                </c:pt>
                <c:pt idx="174">
                  <c:v>121</c:v>
                </c:pt>
                <c:pt idx="175">
                  <c:v>115</c:v>
                </c:pt>
                <c:pt idx="176">
                  <c:v>109</c:v>
                </c:pt>
                <c:pt idx="177">
                  <c:v>104</c:v>
                </c:pt>
                <c:pt idx="178">
                  <c:v>98</c:v>
                </c:pt>
                <c:pt idx="179">
                  <c:v>93</c:v>
                </c:pt>
                <c:pt idx="180">
                  <c:v>88</c:v>
                </c:pt>
                <c:pt idx="181">
                  <c:v>83</c:v>
                </c:pt>
                <c:pt idx="182">
                  <c:v>78</c:v>
                </c:pt>
                <c:pt idx="183">
                  <c:v>74</c:v>
                </c:pt>
                <c:pt idx="184">
                  <c:v>69</c:v>
                </c:pt>
                <c:pt idx="185">
                  <c:v>65</c:v>
                </c:pt>
                <c:pt idx="186">
                  <c:v>61</c:v>
                </c:pt>
                <c:pt idx="187">
                  <c:v>58</c:v>
                </c:pt>
                <c:pt idx="188">
                  <c:v>55</c:v>
                </c:pt>
                <c:pt idx="189">
                  <c:v>51</c:v>
                </c:pt>
                <c:pt idx="190">
                  <c:v>48</c:v>
                </c:pt>
                <c:pt idx="191">
                  <c:v>46</c:v>
                </c:pt>
                <c:pt idx="192">
                  <c:v>43</c:v>
                </c:pt>
                <c:pt idx="193">
                  <c:v>40</c:v>
                </c:pt>
                <c:pt idx="194">
                  <c:v>38</c:v>
                </c:pt>
                <c:pt idx="195">
                  <c:v>36</c:v>
                </c:pt>
                <c:pt idx="196">
                  <c:v>34</c:v>
                </c:pt>
                <c:pt idx="197">
                  <c:v>32</c:v>
                </c:pt>
                <c:pt idx="198">
                  <c:v>30</c:v>
                </c:pt>
                <c:pt idx="199">
                  <c:v>28</c:v>
                </c:pt>
                <c:pt idx="200">
                  <c:v>26</c:v>
                </c:pt>
                <c:pt idx="201">
                  <c:v>24</c:v>
                </c:pt>
                <c:pt idx="202">
                  <c:v>23</c:v>
                </c:pt>
                <c:pt idx="203">
                  <c:v>21</c:v>
                </c:pt>
                <c:pt idx="204">
                  <c:v>20</c:v>
                </c:pt>
                <c:pt idx="205">
                  <c:v>19</c:v>
                </c:pt>
                <c:pt idx="206">
                  <c:v>17</c:v>
                </c:pt>
                <c:pt idx="207">
                  <c:v>16</c:v>
                </c:pt>
                <c:pt idx="208">
                  <c:v>15</c:v>
                </c:pt>
                <c:pt idx="209">
                  <c:v>14</c:v>
                </c:pt>
                <c:pt idx="210">
                  <c:v>13</c:v>
                </c:pt>
                <c:pt idx="211">
                  <c:v>12</c:v>
                </c:pt>
                <c:pt idx="212">
                  <c:v>11</c:v>
                </c:pt>
                <c:pt idx="213">
                  <c:v>10</c:v>
                </c:pt>
                <c:pt idx="214">
                  <c:v>9</c:v>
                </c:pt>
                <c:pt idx="215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4F-43B8-A45A-D0CEB67792B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4</c:v>
                </c:pt>
                <c:pt idx="169">
                  <c:v>162</c:v>
                </c:pt>
                <c:pt idx="170">
                  <c:v>162</c:v>
                </c:pt>
                <c:pt idx="171">
                  <c:v>161</c:v>
                </c:pt>
                <c:pt idx="172">
                  <c:v>161</c:v>
                </c:pt>
                <c:pt idx="173">
                  <c:v>160</c:v>
                </c:pt>
                <c:pt idx="174">
                  <c:v>160</c:v>
                </c:pt>
                <c:pt idx="175">
                  <c:v>162</c:v>
                </c:pt>
                <c:pt idx="176">
                  <c:v>165</c:v>
                </c:pt>
                <c:pt idx="177">
                  <c:v>169</c:v>
                </c:pt>
                <c:pt idx="178">
                  <c:v>174</c:v>
                </c:pt>
                <c:pt idx="179">
                  <c:v>178</c:v>
                </c:pt>
                <c:pt idx="180">
                  <c:v>183</c:v>
                </c:pt>
                <c:pt idx="181">
                  <c:v>187</c:v>
                </c:pt>
                <c:pt idx="182">
                  <c:v>191</c:v>
                </c:pt>
                <c:pt idx="183">
                  <c:v>196</c:v>
                </c:pt>
                <c:pt idx="184">
                  <c:v>200</c:v>
                </c:pt>
                <c:pt idx="185">
                  <c:v>205</c:v>
                </c:pt>
                <c:pt idx="186">
                  <c:v>210</c:v>
                </c:pt>
                <c:pt idx="187">
                  <c:v>214</c:v>
                </c:pt>
                <c:pt idx="188">
                  <c:v>219</c:v>
                </c:pt>
                <c:pt idx="189">
                  <c:v>224</c:v>
                </c:pt>
                <c:pt idx="190">
                  <c:v>230</c:v>
                </c:pt>
                <c:pt idx="191">
                  <c:v>235</c:v>
                </c:pt>
                <c:pt idx="192">
                  <c:v>240</c:v>
                </c:pt>
                <c:pt idx="193">
                  <c:v>245</c:v>
                </c:pt>
                <c:pt idx="194">
                  <c:v>250</c:v>
                </c:pt>
                <c:pt idx="195">
                  <c:v>255</c:v>
                </c:pt>
                <c:pt idx="196">
                  <c:v>259</c:v>
                </c:pt>
                <c:pt idx="197">
                  <c:v>264</c:v>
                </c:pt>
                <c:pt idx="198">
                  <c:v>268</c:v>
                </c:pt>
                <c:pt idx="199">
                  <c:v>271</c:v>
                </c:pt>
                <c:pt idx="200">
                  <c:v>275</c:v>
                </c:pt>
                <c:pt idx="201">
                  <c:v>278</c:v>
                </c:pt>
                <c:pt idx="202">
                  <c:v>280</c:v>
                </c:pt>
                <c:pt idx="203">
                  <c:v>283</c:v>
                </c:pt>
                <c:pt idx="204">
                  <c:v>285</c:v>
                </c:pt>
                <c:pt idx="205">
                  <c:v>286</c:v>
                </c:pt>
                <c:pt idx="206">
                  <c:v>287</c:v>
                </c:pt>
                <c:pt idx="207">
                  <c:v>288</c:v>
                </c:pt>
                <c:pt idx="208">
                  <c:v>288</c:v>
                </c:pt>
                <c:pt idx="209">
                  <c:v>288</c:v>
                </c:pt>
                <c:pt idx="210">
                  <c:v>287</c:v>
                </c:pt>
                <c:pt idx="211">
                  <c:v>286</c:v>
                </c:pt>
                <c:pt idx="212">
                  <c:v>284</c:v>
                </c:pt>
                <c:pt idx="213">
                  <c:v>282</c:v>
                </c:pt>
                <c:pt idx="214">
                  <c:v>280</c:v>
                </c:pt>
                <c:pt idx="215">
                  <c:v>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64F-43B8-A45A-D0CEB67792B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64F-43B8-A45A-D0CEB67792B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58</c:v>
                </c:pt>
                <c:pt idx="1">
                  <c:v>256</c:v>
                </c:pt>
                <c:pt idx="2">
                  <c:v>237</c:v>
                </c:pt>
                <c:pt idx="3">
                  <c:v>339</c:v>
                </c:pt>
                <c:pt idx="4">
                  <c:v>148</c:v>
                </c:pt>
                <c:pt idx="5">
                  <c:v>26</c:v>
                </c:pt>
                <c:pt idx="6">
                  <c:v>321</c:v>
                </c:pt>
                <c:pt idx="7">
                  <c:v>338</c:v>
                </c:pt>
                <c:pt idx="8">
                  <c:v>558</c:v>
                </c:pt>
                <c:pt idx="9">
                  <c:v>254</c:v>
                </c:pt>
                <c:pt idx="10">
                  <c:v>486</c:v>
                </c:pt>
                <c:pt idx="11">
                  <c:v>88</c:v>
                </c:pt>
                <c:pt idx="12">
                  <c:v>135</c:v>
                </c:pt>
                <c:pt idx="13">
                  <c:v>390</c:v>
                </c:pt>
                <c:pt idx="14">
                  <c:v>485</c:v>
                </c:pt>
                <c:pt idx="15">
                  <c:v>533</c:v>
                </c:pt>
                <c:pt idx="16">
                  <c:v>496</c:v>
                </c:pt>
                <c:pt idx="17">
                  <c:v>424</c:v>
                </c:pt>
                <c:pt idx="18">
                  <c:v>177</c:v>
                </c:pt>
                <c:pt idx="19">
                  <c:v>193</c:v>
                </c:pt>
                <c:pt idx="20">
                  <c:v>528</c:v>
                </c:pt>
                <c:pt idx="21">
                  <c:v>406</c:v>
                </c:pt>
                <c:pt idx="22">
                  <c:v>1134</c:v>
                </c:pt>
                <c:pt idx="23">
                  <c:v>101</c:v>
                </c:pt>
                <c:pt idx="24">
                  <c:v>173</c:v>
                </c:pt>
                <c:pt idx="25">
                  <c:v>113</c:v>
                </c:pt>
                <c:pt idx="26">
                  <c:v>194</c:v>
                </c:pt>
                <c:pt idx="27">
                  <c:v>397</c:v>
                </c:pt>
                <c:pt idx="28">
                  <c:v>1246</c:v>
                </c:pt>
                <c:pt idx="29">
                  <c:v>966</c:v>
                </c:pt>
                <c:pt idx="30">
                  <c:v>549</c:v>
                </c:pt>
                <c:pt idx="31">
                  <c:v>103</c:v>
                </c:pt>
                <c:pt idx="32">
                  <c:v>88</c:v>
                </c:pt>
                <c:pt idx="33">
                  <c:v>247</c:v>
                </c:pt>
                <c:pt idx="34">
                  <c:v>836</c:v>
                </c:pt>
                <c:pt idx="35">
                  <c:v>623</c:v>
                </c:pt>
                <c:pt idx="36">
                  <c:v>1270</c:v>
                </c:pt>
                <c:pt idx="37">
                  <c:v>785</c:v>
                </c:pt>
                <c:pt idx="38">
                  <c:v>389</c:v>
                </c:pt>
                <c:pt idx="39">
                  <c:v>731</c:v>
                </c:pt>
                <c:pt idx="40">
                  <c:v>165</c:v>
                </c:pt>
                <c:pt idx="41">
                  <c:v>621</c:v>
                </c:pt>
                <c:pt idx="42">
                  <c:v>669</c:v>
                </c:pt>
                <c:pt idx="43">
                  <c:v>654</c:v>
                </c:pt>
                <c:pt idx="44">
                  <c:v>289</c:v>
                </c:pt>
                <c:pt idx="45">
                  <c:v>513</c:v>
                </c:pt>
                <c:pt idx="46">
                  <c:v>114</c:v>
                </c:pt>
                <c:pt idx="47">
                  <c:v>139</c:v>
                </c:pt>
                <c:pt idx="48">
                  <c:v>711</c:v>
                </c:pt>
                <c:pt idx="49">
                  <c:v>513</c:v>
                </c:pt>
                <c:pt idx="50">
                  <c:v>485</c:v>
                </c:pt>
                <c:pt idx="51">
                  <c:v>392</c:v>
                </c:pt>
                <c:pt idx="52">
                  <c:v>429</c:v>
                </c:pt>
                <c:pt idx="53">
                  <c:v>128</c:v>
                </c:pt>
                <c:pt idx="54">
                  <c:v>127</c:v>
                </c:pt>
                <c:pt idx="55">
                  <c:v>464</c:v>
                </c:pt>
                <c:pt idx="56">
                  <c:v>522</c:v>
                </c:pt>
                <c:pt idx="57">
                  <c:v>457</c:v>
                </c:pt>
                <c:pt idx="58">
                  <c:v>379</c:v>
                </c:pt>
                <c:pt idx="59">
                  <c:v>420</c:v>
                </c:pt>
                <c:pt idx="60">
                  <c:v>82</c:v>
                </c:pt>
                <c:pt idx="61">
                  <c:v>81</c:v>
                </c:pt>
                <c:pt idx="62">
                  <c:v>489</c:v>
                </c:pt>
                <c:pt idx="63">
                  <c:v>512</c:v>
                </c:pt>
                <c:pt idx="64">
                  <c:v>406</c:v>
                </c:pt>
                <c:pt idx="65">
                  <c:v>330</c:v>
                </c:pt>
                <c:pt idx="66">
                  <c:v>387</c:v>
                </c:pt>
                <c:pt idx="67">
                  <c:v>87</c:v>
                </c:pt>
                <c:pt idx="68">
                  <c:v>83</c:v>
                </c:pt>
                <c:pt idx="69">
                  <c:v>382</c:v>
                </c:pt>
                <c:pt idx="70">
                  <c:v>490</c:v>
                </c:pt>
                <c:pt idx="71">
                  <c:v>411</c:v>
                </c:pt>
                <c:pt idx="72">
                  <c:v>374</c:v>
                </c:pt>
                <c:pt idx="73">
                  <c:v>410</c:v>
                </c:pt>
                <c:pt idx="74">
                  <c:v>98</c:v>
                </c:pt>
                <c:pt idx="75">
                  <c:v>99</c:v>
                </c:pt>
                <c:pt idx="76">
                  <c:v>558</c:v>
                </c:pt>
                <c:pt idx="77">
                  <c:v>498</c:v>
                </c:pt>
                <c:pt idx="78">
                  <c:v>438</c:v>
                </c:pt>
                <c:pt idx="79">
                  <c:v>442</c:v>
                </c:pt>
                <c:pt idx="80">
                  <c:v>332</c:v>
                </c:pt>
                <c:pt idx="81">
                  <c:v>435</c:v>
                </c:pt>
                <c:pt idx="82">
                  <c:v>37</c:v>
                </c:pt>
                <c:pt idx="83">
                  <c:v>634</c:v>
                </c:pt>
                <c:pt idx="84">
                  <c:v>661</c:v>
                </c:pt>
                <c:pt idx="85">
                  <c:v>597</c:v>
                </c:pt>
                <c:pt idx="86">
                  <c:v>395</c:v>
                </c:pt>
                <c:pt idx="87">
                  <c:v>886</c:v>
                </c:pt>
                <c:pt idx="88">
                  <c:v>190</c:v>
                </c:pt>
                <c:pt idx="89">
                  <c:v>51</c:v>
                </c:pt>
                <c:pt idx="90">
                  <c:v>712</c:v>
                </c:pt>
                <c:pt idx="91">
                  <c:v>772</c:v>
                </c:pt>
                <c:pt idx="92">
                  <c:v>676</c:v>
                </c:pt>
                <c:pt idx="93">
                  <c:v>654</c:v>
                </c:pt>
                <c:pt idx="94">
                  <c:v>553</c:v>
                </c:pt>
                <c:pt idx="95">
                  <c:v>446</c:v>
                </c:pt>
                <c:pt idx="96">
                  <c:v>161</c:v>
                </c:pt>
                <c:pt idx="97">
                  <c:v>614</c:v>
                </c:pt>
                <c:pt idx="98">
                  <c:v>770</c:v>
                </c:pt>
                <c:pt idx="99">
                  <c:v>756</c:v>
                </c:pt>
                <c:pt idx="100">
                  <c:v>659</c:v>
                </c:pt>
                <c:pt idx="101">
                  <c:v>833</c:v>
                </c:pt>
                <c:pt idx="102">
                  <c:v>190</c:v>
                </c:pt>
                <c:pt idx="103">
                  <c:v>150</c:v>
                </c:pt>
                <c:pt idx="104">
                  <c:v>675</c:v>
                </c:pt>
                <c:pt idx="105">
                  <c:v>686</c:v>
                </c:pt>
                <c:pt idx="106">
                  <c:v>706</c:v>
                </c:pt>
                <c:pt idx="107">
                  <c:v>615</c:v>
                </c:pt>
                <c:pt idx="108">
                  <c:v>655</c:v>
                </c:pt>
                <c:pt idx="109">
                  <c:v>122</c:v>
                </c:pt>
                <c:pt idx="110">
                  <c:v>143</c:v>
                </c:pt>
                <c:pt idx="111">
                  <c:v>570</c:v>
                </c:pt>
                <c:pt idx="112">
                  <c:v>622</c:v>
                </c:pt>
                <c:pt idx="113">
                  <c:v>557</c:v>
                </c:pt>
                <c:pt idx="114">
                  <c:v>365</c:v>
                </c:pt>
                <c:pt idx="115">
                  <c:v>339</c:v>
                </c:pt>
                <c:pt idx="116">
                  <c:v>146</c:v>
                </c:pt>
                <c:pt idx="117">
                  <c:v>73</c:v>
                </c:pt>
                <c:pt idx="118">
                  <c:v>734</c:v>
                </c:pt>
                <c:pt idx="119">
                  <c:v>434</c:v>
                </c:pt>
                <c:pt idx="120">
                  <c:v>456</c:v>
                </c:pt>
                <c:pt idx="121">
                  <c:v>438</c:v>
                </c:pt>
                <c:pt idx="122">
                  <c:v>225</c:v>
                </c:pt>
                <c:pt idx="123">
                  <c:v>24</c:v>
                </c:pt>
                <c:pt idx="124">
                  <c:v>80</c:v>
                </c:pt>
                <c:pt idx="125">
                  <c:v>28</c:v>
                </c:pt>
                <c:pt idx="126">
                  <c:v>464</c:v>
                </c:pt>
                <c:pt idx="127">
                  <c:v>418</c:v>
                </c:pt>
                <c:pt idx="128">
                  <c:v>492</c:v>
                </c:pt>
                <c:pt idx="129">
                  <c:v>384</c:v>
                </c:pt>
                <c:pt idx="130">
                  <c:v>63</c:v>
                </c:pt>
                <c:pt idx="131">
                  <c:v>31</c:v>
                </c:pt>
                <c:pt idx="132">
                  <c:v>406</c:v>
                </c:pt>
                <c:pt idx="133">
                  <c:v>325</c:v>
                </c:pt>
                <c:pt idx="134">
                  <c:v>342</c:v>
                </c:pt>
                <c:pt idx="135">
                  <c:v>187</c:v>
                </c:pt>
                <c:pt idx="136">
                  <c:v>260</c:v>
                </c:pt>
                <c:pt idx="137">
                  <c:v>47</c:v>
                </c:pt>
                <c:pt idx="138">
                  <c:v>46</c:v>
                </c:pt>
                <c:pt idx="139">
                  <c:v>316</c:v>
                </c:pt>
                <c:pt idx="140">
                  <c:v>282</c:v>
                </c:pt>
                <c:pt idx="141">
                  <c:v>219</c:v>
                </c:pt>
                <c:pt idx="142">
                  <c:v>162</c:v>
                </c:pt>
                <c:pt idx="143">
                  <c:v>252</c:v>
                </c:pt>
                <c:pt idx="144">
                  <c:v>49</c:v>
                </c:pt>
                <c:pt idx="145">
                  <c:v>25</c:v>
                </c:pt>
                <c:pt idx="146">
                  <c:v>239</c:v>
                </c:pt>
                <c:pt idx="147">
                  <c:v>222</c:v>
                </c:pt>
                <c:pt idx="148">
                  <c:v>196</c:v>
                </c:pt>
                <c:pt idx="149">
                  <c:v>141</c:v>
                </c:pt>
                <c:pt idx="150">
                  <c:v>128</c:v>
                </c:pt>
                <c:pt idx="151">
                  <c:v>32</c:v>
                </c:pt>
                <c:pt idx="152">
                  <c:v>39</c:v>
                </c:pt>
                <c:pt idx="153">
                  <c:v>178</c:v>
                </c:pt>
                <c:pt idx="154">
                  <c:v>109</c:v>
                </c:pt>
                <c:pt idx="155">
                  <c:v>117</c:v>
                </c:pt>
                <c:pt idx="156">
                  <c:v>73</c:v>
                </c:pt>
                <c:pt idx="157">
                  <c:v>73</c:v>
                </c:pt>
                <c:pt idx="158">
                  <c:v>6</c:v>
                </c:pt>
                <c:pt idx="159">
                  <c:v>29</c:v>
                </c:pt>
                <c:pt idx="160">
                  <c:v>139</c:v>
                </c:pt>
                <c:pt idx="161">
                  <c:v>97</c:v>
                </c:pt>
                <c:pt idx="162">
                  <c:v>89</c:v>
                </c:pt>
                <c:pt idx="163">
                  <c:v>63</c:v>
                </c:pt>
                <c:pt idx="164">
                  <c:v>59</c:v>
                </c:pt>
                <c:pt idx="165">
                  <c:v>20</c:v>
                </c:pt>
                <c:pt idx="166">
                  <c:v>21</c:v>
                </c:pt>
                <c:pt idx="167">
                  <c:v>103</c:v>
                </c:pt>
                <c:pt idx="168">
                  <c:v>87</c:v>
                </c:pt>
                <c:pt idx="169">
                  <c:v>82</c:v>
                </c:pt>
                <c:pt idx="170">
                  <c:v>54</c:v>
                </c:pt>
                <c:pt idx="171">
                  <c:v>47</c:v>
                </c:pt>
                <c:pt idx="172">
                  <c:v>13</c:v>
                </c:pt>
                <c:pt idx="173">
                  <c:v>27</c:v>
                </c:pt>
                <c:pt idx="174">
                  <c:v>59</c:v>
                </c:pt>
                <c:pt idx="175">
                  <c:v>59</c:v>
                </c:pt>
                <c:pt idx="176">
                  <c:v>62</c:v>
                </c:pt>
                <c:pt idx="177">
                  <c:v>36</c:v>
                </c:pt>
                <c:pt idx="178">
                  <c:v>22</c:v>
                </c:pt>
                <c:pt idx="179">
                  <c:v>21</c:v>
                </c:pt>
                <c:pt idx="18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E0-4B57-AD67-A797922A49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E0-4B57-AD67-A797922A4931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627</c:v>
                </c:pt>
                <c:pt idx="89">
                  <c:v>638</c:v>
                </c:pt>
                <c:pt idx="90">
                  <c:v>647</c:v>
                </c:pt>
                <c:pt idx="91">
                  <c:v>655</c:v>
                </c:pt>
                <c:pt idx="92">
                  <c:v>662</c:v>
                </c:pt>
                <c:pt idx="93">
                  <c:v>669</c:v>
                </c:pt>
                <c:pt idx="94">
                  <c:v>676</c:v>
                </c:pt>
                <c:pt idx="95">
                  <c:v>682</c:v>
                </c:pt>
                <c:pt idx="96">
                  <c:v>687</c:v>
                </c:pt>
                <c:pt idx="97">
                  <c:v>692</c:v>
                </c:pt>
                <c:pt idx="98">
                  <c:v>697</c:v>
                </c:pt>
                <c:pt idx="99">
                  <c:v>702</c:v>
                </c:pt>
                <c:pt idx="100">
                  <c:v>706</c:v>
                </c:pt>
                <c:pt idx="101">
                  <c:v>710</c:v>
                </c:pt>
                <c:pt idx="102">
                  <c:v>713</c:v>
                </c:pt>
                <c:pt idx="103">
                  <c:v>716</c:v>
                </c:pt>
                <c:pt idx="104">
                  <c:v>719</c:v>
                </c:pt>
                <c:pt idx="105">
                  <c:v>722</c:v>
                </c:pt>
                <c:pt idx="106">
                  <c:v>724</c:v>
                </c:pt>
                <c:pt idx="107">
                  <c:v>726</c:v>
                </c:pt>
                <c:pt idx="108">
                  <c:v>728</c:v>
                </c:pt>
                <c:pt idx="109">
                  <c:v>729</c:v>
                </c:pt>
                <c:pt idx="110">
                  <c:v>730</c:v>
                </c:pt>
                <c:pt idx="111">
                  <c:v>731</c:v>
                </c:pt>
                <c:pt idx="112">
                  <c:v>731</c:v>
                </c:pt>
                <c:pt idx="113">
                  <c:v>731</c:v>
                </c:pt>
                <c:pt idx="114">
                  <c:v>731</c:v>
                </c:pt>
                <c:pt idx="115">
                  <c:v>731</c:v>
                </c:pt>
                <c:pt idx="116">
                  <c:v>730</c:v>
                </c:pt>
                <c:pt idx="117">
                  <c:v>729</c:v>
                </c:pt>
                <c:pt idx="118">
                  <c:v>728</c:v>
                </c:pt>
                <c:pt idx="119">
                  <c:v>726</c:v>
                </c:pt>
                <c:pt idx="120">
                  <c:v>724</c:v>
                </c:pt>
                <c:pt idx="121">
                  <c:v>722</c:v>
                </c:pt>
                <c:pt idx="122">
                  <c:v>720</c:v>
                </c:pt>
                <c:pt idx="123">
                  <c:v>717</c:v>
                </c:pt>
                <c:pt idx="124">
                  <c:v>715</c:v>
                </c:pt>
                <c:pt idx="125">
                  <c:v>711</c:v>
                </c:pt>
                <c:pt idx="126">
                  <c:v>708</c:v>
                </c:pt>
                <c:pt idx="127">
                  <c:v>705</c:v>
                </c:pt>
                <c:pt idx="128">
                  <c:v>701</c:v>
                </c:pt>
                <c:pt idx="129">
                  <c:v>697</c:v>
                </c:pt>
                <c:pt idx="130">
                  <c:v>692</c:v>
                </c:pt>
                <c:pt idx="131">
                  <c:v>688</c:v>
                </c:pt>
                <c:pt idx="132">
                  <c:v>683</c:v>
                </c:pt>
                <c:pt idx="133">
                  <c:v>678</c:v>
                </c:pt>
                <c:pt idx="134">
                  <c:v>673</c:v>
                </c:pt>
                <c:pt idx="135">
                  <c:v>668</c:v>
                </c:pt>
                <c:pt idx="136">
                  <c:v>663</c:v>
                </c:pt>
                <c:pt idx="137">
                  <c:v>657</c:v>
                </c:pt>
                <c:pt idx="138">
                  <c:v>651</c:v>
                </c:pt>
                <c:pt idx="139">
                  <c:v>645</c:v>
                </c:pt>
                <c:pt idx="140">
                  <c:v>639</c:v>
                </c:pt>
                <c:pt idx="141">
                  <c:v>633</c:v>
                </c:pt>
                <c:pt idx="142">
                  <c:v>627</c:v>
                </c:pt>
                <c:pt idx="143">
                  <c:v>620</c:v>
                </c:pt>
                <c:pt idx="144">
                  <c:v>613</c:v>
                </c:pt>
                <c:pt idx="145">
                  <c:v>607</c:v>
                </c:pt>
                <c:pt idx="146">
                  <c:v>600</c:v>
                </c:pt>
                <c:pt idx="147">
                  <c:v>593</c:v>
                </c:pt>
                <c:pt idx="148">
                  <c:v>586</c:v>
                </c:pt>
                <c:pt idx="149">
                  <c:v>579</c:v>
                </c:pt>
                <c:pt idx="150">
                  <c:v>571</c:v>
                </c:pt>
                <c:pt idx="151">
                  <c:v>564</c:v>
                </c:pt>
                <c:pt idx="152">
                  <c:v>557</c:v>
                </c:pt>
                <c:pt idx="153">
                  <c:v>549</c:v>
                </c:pt>
                <c:pt idx="154">
                  <c:v>542</c:v>
                </c:pt>
                <c:pt idx="155">
                  <c:v>534</c:v>
                </c:pt>
                <c:pt idx="156">
                  <c:v>527</c:v>
                </c:pt>
                <c:pt idx="157">
                  <c:v>519</c:v>
                </c:pt>
                <c:pt idx="158">
                  <c:v>511</c:v>
                </c:pt>
                <c:pt idx="159">
                  <c:v>504</c:v>
                </c:pt>
                <c:pt idx="160">
                  <c:v>496</c:v>
                </c:pt>
                <c:pt idx="161">
                  <c:v>489</c:v>
                </c:pt>
                <c:pt idx="162">
                  <c:v>481</c:v>
                </c:pt>
                <c:pt idx="163">
                  <c:v>473</c:v>
                </c:pt>
                <c:pt idx="164">
                  <c:v>466</c:v>
                </c:pt>
                <c:pt idx="165">
                  <c:v>458</c:v>
                </c:pt>
                <c:pt idx="166">
                  <c:v>450</c:v>
                </c:pt>
                <c:pt idx="167">
                  <c:v>443</c:v>
                </c:pt>
                <c:pt idx="168">
                  <c:v>435</c:v>
                </c:pt>
                <c:pt idx="169">
                  <c:v>428</c:v>
                </c:pt>
                <c:pt idx="170">
                  <c:v>420</c:v>
                </c:pt>
                <c:pt idx="171">
                  <c:v>413</c:v>
                </c:pt>
                <c:pt idx="172">
                  <c:v>406</c:v>
                </c:pt>
                <c:pt idx="173">
                  <c:v>398</c:v>
                </c:pt>
                <c:pt idx="174">
                  <c:v>391</c:v>
                </c:pt>
                <c:pt idx="175">
                  <c:v>384</c:v>
                </c:pt>
                <c:pt idx="176">
                  <c:v>377</c:v>
                </c:pt>
                <c:pt idx="177">
                  <c:v>370</c:v>
                </c:pt>
                <c:pt idx="178">
                  <c:v>363</c:v>
                </c:pt>
                <c:pt idx="179">
                  <c:v>356</c:v>
                </c:pt>
                <c:pt idx="180">
                  <c:v>349</c:v>
                </c:pt>
                <c:pt idx="181">
                  <c:v>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CE0-4B57-AD67-A797922A4931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620</c:v>
                </c:pt>
                <c:pt idx="89">
                  <c:v>622</c:v>
                </c:pt>
                <c:pt idx="90">
                  <c:v>619</c:v>
                </c:pt>
                <c:pt idx="91">
                  <c:v>615</c:v>
                </c:pt>
                <c:pt idx="92">
                  <c:v>610</c:v>
                </c:pt>
                <c:pt idx="93">
                  <c:v>604</c:v>
                </c:pt>
                <c:pt idx="94">
                  <c:v>597</c:v>
                </c:pt>
                <c:pt idx="95">
                  <c:v>590</c:v>
                </c:pt>
                <c:pt idx="96">
                  <c:v>582</c:v>
                </c:pt>
                <c:pt idx="97">
                  <c:v>574</c:v>
                </c:pt>
                <c:pt idx="98">
                  <c:v>566</c:v>
                </c:pt>
                <c:pt idx="99">
                  <c:v>558</c:v>
                </c:pt>
                <c:pt idx="100">
                  <c:v>550</c:v>
                </c:pt>
                <c:pt idx="101">
                  <c:v>541</c:v>
                </c:pt>
                <c:pt idx="102">
                  <c:v>533</c:v>
                </c:pt>
                <c:pt idx="103">
                  <c:v>524</c:v>
                </c:pt>
                <c:pt idx="104">
                  <c:v>515</c:v>
                </c:pt>
                <c:pt idx="105">
                  <c:v>506</c:v>
                </c:pt>
                <c:pt idx="106">
                  <c:v>498</c:v>
                </c:pt>
                <c:pt idx="107">
                  <c:v>489</c:v>
                </c:pt>
                <c:pt idx="108">
                  <c:v>480</c:v>
                </c:pt>
                <c:pt idx="109">
                  <c:v>471</c:v>
                </c:pt>
                <c:pt idx="110">
                  <c:v>462</c:v>
                </c:pt>
                <c:pt idx="111">
                  <c:v>454</c:v>
                </c:pt>
                <c:pt idx="112">
                  <c:v>445</c:v>
                </c:pt>
                <c:pt idx="113">
                  <c:v>436</c:v>
                </c:pt>
                <c:pt idx="114">
                  <c:v>428</c:v>
                </c:pt>
                <c:pt idx="115">
                  <c:v>420</c:v>
                </c:pt>
                <c:pt idx="116">
                  <c:v>411</c:v>
                </c:pt>
                <c:pt idx="117">
                  <c:v>403</c:v>
                </c:pt>
                <c:pt idx="118">
                  <c:v>395</c:v>
                </c:pt>
                <c:pt idx="119">
                  <c:v>387</c:v>
                </c:pt>
                <c:pt idx="120">
                  <c:v>379</c:v>
                </c:pt>
                <c:pt idx="121">
                  <c:v>371</c:v>
                </c:pt>
                <c:pt idx="122">
                  <c:v>363</c:v>
                </c:pt>
                <c:pt idx="123">
                  <c:v>355</c:v>
                </c:pt>
                <c:pt idx="124">
                  <c:v>348</c:v>
                </c:pt>
                <c:pt idx="125">
                  <c:v>340</c:v>
                </c:pt>
                <c:pt idx="126">
                  <c:v>333</c:v>
                </c:pt>
                <c:pt idx="127">
                  <c:v>326</c:v>
                </c:pt>
                <c:pt idx="128">
                  <c:v>318</c:v>
                </c:pt>
                <c:pt idx="129">
                  <c:v>311</c:v>
                </c:pt>
                <c:pt idx="130">
                  <c:v>304</c:v>
                </c:pt>
                <c:pt idx="131">
                  <c:v>298</c:v>
                </c:pt>
                <c:pt idx="132">
                  <c:v>291</c:v>
                </c:pt>
                <c:pt idx="133">
                  <c:v>284</c:v>
                </c:pt>
                <c:pt idx="134">
                  <c:v>278</c:v>
                </c:pt>
                <c:pt idx="135">
                  <c:v>272</c:v>
                </c:pt>
                <c:pt idx="136">
                  <c:v>265</c:v>
                </c:pt>
                <c:pt idx="137">
                  <c:v>259</c:v>
                </c:pt>
                <c:pt idx="138">
                  <c:v>253</c:v>
                </c:pt>
                <c:pt idx="139">
                  <c:v>247</c:v>
                </c:pt>
                <c:pt idx="140">
                  <c:v>242</c:v>
                </c:pt>
                <c:pt idx="141">
                  <c:v>236</c:v>
                </c:pt>
                <c:pt idx="142">
                  <c:v>230</c:v>
                </c:pt>
                <c:pt idx="143">
                  <c:v>225</c:v>
                </c:pt>
                <c:pt idx="144">
                  <c:v>220</c:v>
                </c:pt>
                <c:pt idx="145">
                  <c:v>214</c:v>
                </c:pt>
                <c:pt idx="146">
                  <c:v>209</c:v>
                </c:pt>
                <c:pt idx="147">
                  <c:v>204</c:v>
                </c:pt>
                <c:pt idx="148">
                  <c:v>199</c:v>
                </c:pt>
                <c:pt idx="149">
                  <c:v>195</c:v>
                </c:pt>
                <c:pt idx="150">
                  <c:v>190</c:v>
                </c:pt>
                <c:pt idx="151">
                  <c:v>185</c:v>
                </c:pt>
                <c:pt idx="152">
                  <c:v>181</c:v>
                </c:pt>
                <c:pt idx="153">
                  <c:v>176</c:v>
                </c:pt>
                <c:pt idx="154">
                  <c:v>172</c:v>
                </c:pt>
                <c:pt idx="155">
                  <c:v>168</c:v>
                </c:pt>
                <c:pt idx="156">
                  <c:v>164</c:v>
                </c:pt>
                <c:pt idx="157">
                  <c:v>160</c:v>
                </c:pt>
                <c:pt idx="158">
                  <c:v>156</c:v>
                </c:pt>
                <c:pt idx="159">
                  <c:v>152</c:v>
                </c:pt>
                <c:pt idx="160">
                  <c:v>148</c:v>
                </c:pt>
                <c:pt idx="161">
                  <c:v>144</c:v>
                </c:pt>
                <c:pt idx="162">
                  <c:v>141</c:v>
                </c:pt>
                <c:pt idx="163">
                  <c:v>137</c:v>
                </c:pt>
                <c:pt idx="164">
                  <c:v>134</c:v>
                </c:pt>
                <c:pt idx="165">
                  <c:v>130</c:v>
                </c:pt>
                <c:pt idx="166">
                  <c:v>127</c:v>
                </c:pt>
                <c:pt idx="167">
                  <c:v>124</c:v>
                </c:pt>
                <c:pt idx="168">
                  <c:v>121</c:v>
                </c:pt>
                <c:pt idx="169">
                  <c:v>118</c:v>
                </c:pt>
                <c:pt idx="170">
                  <c:v>115</c:v>
                </c:pt>
                <c:pt idx="171">
                  <c:v>112</c:v>
                </c:pt>
                <c:pt idx="172">
                  <c:v>109</c:v>
                </c:pt>
                <c:pt idx="173">
                  <c:v>106</c:v>
                </c:pt>
                <c:pt idx="174">
                  <c:v>104</c:v>
                </c:pt>
                <c:pt idx="175">
                  <c:v>101</c:v>
                </c:pt>
                <c:pt idx="176">
                  <c:v>98</c:v>
                </c:pt>
                <c:pt idx="177">
                  <c:v>96</c:v>
                </c:pt>
                <c:pt idx="178">
                  <c:v>93</c:v>
                </c:pt>
                <c:pt idx="179">
                  <c:v>91</c:v>
                </c:pt>
                <c:pt idx="180">
                  <c:v>89</c:v>
                </c:pt>
                <c:pt idx="181">
                  <c:v>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CE0-4B57-AD67-A797922A49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58</c:v>
                </c:pt>
                <c:pt idx="1">
                  <c:v>256</c:v>
                </c:pt>
                <c:pt idx="2">
                  <c:v>237</c:v>
                </c:pt>
                <c:pt idx="3">
                  <c:v>339</c:v>
                </c:pt>
                <c:pt idx="4">
                  <c:v>148</c:v>
                </c:pt>
                <c:pt idx="5">
                  <c:v>26</c:v>
                </c:pt>
                <c:pt idx="6">
                  <c:v>321</c:v>
                </c:pt>
                <c:pt idx="7">
                  <c:v>338</c:v>
                </c:pt>
                <c:pt idx="8">
                  <c:v>558</c:v>
                </c:pt>
                <c:pt idx="9">
                  <c:v>254</c:v>
                </c:pt>
                <c:pt idx="10">
                  <c:v>486</c:v>
                </c:pt>
                <c:pt idx="11">
                  <c:v>88</c:v>
                </c:pt>
                <c:pt idx="12">
                  <c:v>135</c:v>
                </c:pt>
                <c:pt idx="13">
                  <c:v>390</c:v>
                </c:pt>
                <c:pt idx="14">
                  <c:v>485</c:v>
                </c:pt>
                <c:pt idx="15">
                  <c:v>533</c:v>
                </c:pt>
                <c:pt idx="16">
                  <c:v>496</c:v>
                </c:pt>
                <c:pt idx="17">
                  <c:v>424</c:v>
                </c:pt>
                <c:pt idx="18">
                  <c:v>177</c:v>
                </c:pt>
                <c:pt idx="19">
                  <c:v>193</c:v>
                </c:pt>
                <c:pt idx="20">
                  <c:v>528</c:v>
                </c:pt>
                <c:pt idx="21">
                  <c:v>406</c:v>
                </c:pt>
                <c:pt idx="22">
                  <c:v>1134</c:v>
                </c:pt>
                <c:pt idx="23">
                  <c:v>101</c:v>
                </c:pt>
                <c:pt idx="24">
                  <c:v>173</c:v>
                </c:pt>
                <c:pt idx="25">
                  <c:v>113</c:v>
                </c:pt>
                <c:pt idx="26">
                  <c:v>194</c:v>
                </c:pt>
                <c:pt idx="27">
                  <c:v>397</c:v>
                </c:pt>
                <c:pt idx="28">
                  <c:v>1246</c:v>
                </c:pt>
                <c:pt idx="29">
                  <c:v>966</c:v>
                </c:pt>
                <c:pt idx="30">
                  <c:v>549</c:v>
                </c:pt>
                <c:pt idx="31">
                  <c:v>103</c:v>
                </c:pt>
                <c:pt idx="32">
                  <c:v>88</c:v>
                </c:pt>
                <c:pt idx="33">
                  <c:v>247</c:v>
                </c:pt>
                <c:pt idx="34">
                  <c:v>836</c:v>
                </c:pt>
                <c:pt idx="35">
                  <c:v>623</c:v>
                </c:pt>
                <c:pt idx="36">
                  <c:v>1270</c:v>
                </c:pt>
                <c:pt idx="37">
                  <c:v>785</c:v>
                </c:pt>
                <c:pt idx="38">
                  <c:v>389</c:v>
                </c:pt>
                <c:pt idx="39">
                  <c:v>731</c:v>
                </c:pt>
                <c:pt idx="40">
                  <c:v>165</c:v>
                </c:pt>
                <c:pt idx="41">
                  <c:v>621</c:v>
                </c:pt>
                <c:pt idx="42">
                  <c:v>669</c:v>
                </c:pt>
                <c:pt idx="43">
                  <c:v>654</c:v>
                </c:pt>
                <c:pt idx="44">
                  <c:v>289</c:v>
                </c:pt>
                <c:pt idx="45">
                  <c:v>513</c:v>
                </c:pt>
                <c:pt idx="46">
                  <c:v>114</c:v>
                </c:pt>
                <c:pt idx="47">
                  <c:v>139</c:v>
                </c:pt>
                <c:pt idx="48">
                  <c:v>711</c:v>
                </c:pt>
                <c:pt idx="49">
                  <c:v>513</c:v>
                </c:pt>
                <c:pt idx="50">
                  <c:v>485</c:v>
                </c:pt>
                <c:pt idx="51">
                  <c:v>392</c:v>
                </c:pt>
                <c:pt idx="52">
                  <c:v>429</c:v>
                </c:pt>
                <c:pt idx="53">
                  <c:v>128</c:v>
                </c:pt>
                <c:pt idx="54">
                  <c:v>127</c:v>
                </c:pt>
                <c:pt idx="55">
                  <c:v>464</c:v>
                </c:pt>
                <c:pt idx="56">
                  <c:v>522</c:v>
                </c:pt>
                <c:pt idx="57">
                  <c:v>457</c:v>
                </c:pt>
                <c:pt idx="58">
                  <c:v>379</c:v>
                </c:pt>
                <c:pt idx="59">
                  <c:v>420</c:v>
                </c:pt>
                <c:pt idx="60">
                  <c:v>82</c:v>
                </c:pt>
                <c:pt idx="61">
                  <c:v>81</c:v>
                </c:pt>
                <c:pt idx="62">
                  <c:v>489</c:v>
                </c:pt>
                <c:pt idx="63">
                  <c:v>512</c:v>
                </c:pt>
                <c:pt idx="64">
                  <c:v>406</c:v>
                </c:pt>
                <c:pt idx="65">
                  <c:v>330</c:v>
                </c:pt>
                <c:pt idx="66">
                  <c:v>387</c:v>
                </c:pt>
                <c:pt idx="67">
                  <c:v>87</c:v>
                </c:pt>
                <c:pt idx="68">
                  <c:v>83</c:v>
                </c:pt>
                <c:pt idx="69">
                  <c:v>382</c:v>
                </c:pt>
                <c:pt idx="70">
                  <c:v>490</c:v>
                </c:pt>
                <c:pt idx="71">
                  <c:v>411</c:v>
                </c:pt>
                <c:pt idx="72">
                  <c:v>374</c:v>
                </c:pt>
                <c:pt idx="73">
                  <c:v>410</c:v>
                </c:pt>
                <c:pt idx="74">
                  <c:v>98</c:v>
                </c:pt>
                <c:pt idx="75">
                  <c:v>99</c:v>
                </c:pt>
                <c:pt idx="76">
                  <c:v>558</c:v>
                </c:pt>
                <c:pt idx="77">
                  <c:v>498</c:v>
                </c:pt>
                <c:pt idx="78">
                  <c:v>438</c:v>
                </c:pt>
                <c:pt idx="79">
                  <c:v>442</c:v>
                </c:pt>
                <c:pt idx="80">
                  <c:v>332</c:v>
                </c:pt>
                <c:pt idx="81">
                  <c:v>435</c:v>
                </c:pt>
                <c:pt idx="82">
                  <c:v>37</c:v>
                </c:pt>
                <c:pt idx="83">
                  <c:v>634</c:v>
                </c:pt>
                <c:pt idx="84">
                  <c:v>661</c:v>
                </c:pt>
                <c:pt idx="85">
                  <c:v>597</c:v>
                </c:pt>
                <c:pt idx="86">
                  <c:v>395</c:v>
                </c:pt>
                <c:pt idx="87">
                  <c:v>886</c:v>
                </c:pt>
                <c:pt idx="88">
                  <c:v>190</c:v>
                </c:pt>
                <c:pt idx="89">
                  <c:v>51</c:v>
                </c:pt>
                <c:pt idx="90">
                  <c:v>712</c:v>
                </c:pt>
                <c:pt idx="91">
                  <c:v>772</c:v>
                </c:pt>
                <c:pt idx="92">
                  <c:v>676</c:v>
                </c:pt>
                <c:pt idx="93">
                  <c:v>654</c:v>
                </c:pt>
                <c:pt idx="94">
                  <c:v>553</c:v>
                </c:pt>
                <c:pt idx="95">
                  <c:v>446</c:v>
                </c:pt>
                <c:pt idx="96">
                  <c:v>161</c:v>
                </c:pt>
                <c:pt idx="97">
                  <c:v>614</c:v>
                </c:pt>
                <c:pt idx="98">
                  <c:v>770</c:v>
                </c:pt>
                <c:pt idx="99">
                  <c:v>756</c:v>
                </c:pt>
                <c:pt idx="100">
                  <c:v>659</c:v>
                </c:pt>
                <c:pt idx="101">
                  <c:v>833</c:v>
                </c:pt>
                <c:pt idx="102">
                  <c:v>190</c:v>
                </c:pt>
                <c:pt idx="103">
                  <c:v>150</c:v>
                </c:pt>
                <c:pt idx="104">
                  <c:v>675</c:v>
                </c:pt>
                <c:pt idx="105">
                  <c:v>686</c:v>
                </c:pt>
                <c:pt idx="106">
                  <c:v>706</c:v>
                </c:pt>
                <c:pt idx="107">
                  <c:v>615</c:v>
                </c:pt>
                <c:pt idx="108">
                  <c:v>655</c:v>
                </c:pt>
                <c:pt idx="109">
                  <c:v>122</c:v>
                </c:pt>
                <c:pt idx="110">
                  <c:v>143</c:v>
                </c:pt>
                <c:pt idx="111">
                  <c:v>570</c:v>
                </c:pt>
                <c:pt idx="112">
                  <c:v>622</c:v>
                </c:pt>
                <c:pt idx="113">
                  <c:v>557</c:v>
                </c:pt>
                <c:pt idx="114">
                  <c:v>365</c:v>
                </c:pt>
                <c:pt idx="115">
                  <c:v>339</c:v>
                </c:pt>
                <c:pt idx="116">
                  <c:v>146</c:v>
                </c:pt>
                <c:pt idx="117">
                  <c:v>73</c:v>
                </c:pt>
                <c:pt idx="118">
                  <c:v>734</c:v>
                </c:pt>
                <c:pt idx="119">
                  <c:v>434</c:v>
                </c:pt>
                <c:pt idx="120">
                  <c:v>456</c:v>
                </c:pt>
                <c:pt idx="121">
                  <c:v>438</c:v>
                </c:pt>
                <c:pt idx="122">
                  <c:v>225</c:v>
                </c:pt>
                <c:pt idx="123">
                  <c:v>24</c:v>
                </c:pt>
                <c:pt idx="124">
                  <c:v>80</c:v>
                </c:pt>
                <c:pt idx="125">
                  <c:v>28</c:v>
                </c:pt>
                <c:pt idx="126">
                  <c:v>464</c:v>
                </c:pt>
                <c:pt idx="127">
                  <c:v>418</c:v>
                </c:pt>
                <c:pt idx="128">
                  <c:v>492</c:v>
                </c:pt>
                <c:pt idx="129">
                  <c:v>384</c:v>
                </c:pt>
                <c:pt idx="130">
                  <c:v>63</c:v>
                </c:pt>
                <c:pt idx="131">
                  <c:v>31</c:v>
                </c:pt>
                <c:pt idx="132">
                  <c:v>406</c:v>
                </c:pt>
                <c:pt idx="133">
                  <c:v>325</c:v>
                </c:pt>
                <c:pt idx="134">
                  <c:v>342</c:v>
                </c:pt>
                <c:pt idx="135">
                  <c:v>187</c:v>
                </c:pt>
                <c:pt idx="136">
                  <c:v>260</c:v>
                </c:pt>
                <c:pt idx="137">
                  <c:v>47</c:v>
                </c:pt>
                <c:pt idx="138">
                  <c:v>46</c:v>
                </c:pt>
                <c:pt idx="139">
                  <c:v>316</c:v>
                </c:pt>
                <c:pt idx="140">
                  <c:v>282</c:v>
                </c:pt>
                <c:pt idx="141">
                  <c:v>219</c:v>
                </c:pt>
                <c:pt idx="142">
                  <c:v>162</c:v>
                </c:pt>
                <c:pt idx="143">
                  <c:v>252</c:v>
                </c:pt>
                <c:pt idx="144">
                  <c:v>49</c:v>
                </c:pt>
                <c:pt idx="145">
                  <c:v>25</c:v>
                </c:pt>
                <c:pt idx="146">
                  <c:v>239</c:v>
                </c:pt>
                <c:pt idx="147">
                  <c:v>222</c:v>
                </c:pt>
                <c:pt idx="148">
                  <c:v>196</c:v>
                </c:pt>
                <c:pt idx="149">
                  <c:v>141</c:v>
                </c:pt>
                <c:pt idx="150">
                  <c:v>128</c:v>
                </c:pt>
                <c:pt idx="151">
                  <c:v>32</c:v>
                </c:pt>
                <c:pt idx="152">
                  <c:v>39</c:v>
                </c:pt>
                <c:pt idx="153">
                  <c:v>178</c:v>
                </c:pt>
                <c:pt idx="154">
                  <c:v>109</c:v>
                </c:pt>
                <c:pt idx="155">
                  <c:v>117</c:v>
                </c:pt>
                <c:pt idx="156">
                  <c:v>73</c:v>
                </c:pt>
                <c:pt idx="157">
                  <c:v>73</c:v>
                </c:pt>
                <c:pt idx="158">
                  <c:v>6</c:v>
                </c:pt>
                <c:pt idx="159">
                  <c:v>29</c:v>
                </c:pt>
                <c:pt idx="160">
                  <c:v>139</c:v>
                </c:pt>
                <c:pt idx="161">
                  <c:v>97</c:v>
                </c:pt>
                <c:pt idx="162">
                  <c:v>89</c:v>
                </c:pt>
                <c:pt idx="163">
                  <c:v>63</c:v>
                </c:pt>
                <c:pt idx="164">
                  <c:v>59</c:v>
                </c:pt>
                <c:pt idx="165">
                  <c:v>20</c:v>
                </c:pt>
                <c:pt idx="166">
                  <c:v>21</c:v>
                </c:pt>
                <c:pt idx="167">
                  <c:v>103</c:v>
                </c:pt>
                <c:pt idx="168">
                  <c:v>87</c:v>
                </c:pt>
                <c:pt idx="169">
                  <c:v>82</c:v>
                </c:pt>
                <c:pt idx="170">
                  <c:v>54</c:v>
                </c:pt>
                <c:pt idx="171">
                  <c:v>47</c:v>
                </c:pt>
                <c:pt idx="172">
                  <c:v>13</c:v>
                </c:pt>
                <c:pt idx="173">
                  <c:v>27</c:v>
                </c:pt>
                <c:pt idx="174">
                  <c:v>59</c:v>
                </c:pt>
                <c:pt idx="175">
                  <c:v>59</c:v>
                </c:pt>
                <c:pt idx="176">
                  <c:v>62</c:v>
                </c:pt>
                <c:pt idx="177">
                  <c:v>36</c:v>
                </c:pt>
                <c:pt idx="178">
                  <c:v>22</c:v>
                </c:pt>
                <c:pt idx="179">
                  <c:v>21</c:v>
                </c:pt>
                <c:pt idx="18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566</c:v>
                </c:pt>
                <c:pt idx="89">
                  <c:v>566</c:v>
                </c:pt>
                <c:pt idx="90">
                  <c:v>563</c:v>
                </c:pt>
                <c:pt idx="91">
                  <c:v>557</c:v>
                </c:pt>
                <c:pt idx="92">
                  <c:v>551</c:v>
                </c:pt>
                <c:pt idx="93">
                  <c:v>544</c:v>
                </c:pt>
                <c:pt idx="94">
                  <c:v>536</c:v>
                </c:pt>
                <c:pt idx="95">
                  <c:v>528</c:v>
                </c:pt>
                <c:pt idx="96">
                  <c:v>520</c:v>
                </c:pt>
                <c:pt idx="97">
                  <c:v>511</c:v>
                </c:pt>
                <c:pt idx="98">
                  <c:v>503</c:v>
                </c:pt>
                <c:pt idx="99">
                  <c:v>494</c:v>
                </c:pt>
                <c:pt idx="100">
                  <c:v>485</c:v>
                </c:pt>
                <c:pt idx="101">
                  <c:v>475</c:v>
                </c:pt>
                <c:pt idx="102">
                  <c:v>466</c:v>
                </c:pt>
                <c:pt idx="103">
                  <c:v>457</c:v>
                </c:pt>
                <c:pt idx="104">
                  <c:v>447</c:v>
                </c:pt>
                <c:pt idx="105">
                  <c:v>438</c:v>
                </c:pt>
                <c:pt idx="106">
                  <c:v>428</c:v>
                </c:pt>
                <c:pt idx="107">
                  <c:v>419</c:v>
                </c:pt>
                <c:pt idx="108">
                  <c:v>409</c:v>
                </c:pt>
                <c:pt idx="109">
                  <c:v>399</c:v>
                </c:pt>
                <c:pt idx="110">
                  <c:v>390</c:v>
                </c:pt>
                <c:pt idx="111">
                  <c:v>380</c:v>
                </c:pt>
                <c:pt idx="112">
                  <c:v>371</c:v>
                </c:pt>
                <c:pt idx="113">
                  <c:v>362</c:v>
                </c:pt>
                <c:pt idx="114">
                  <c:v>352</c:v>
                </c:pt>
                <c:pt idx="115">
                  <c:v>343</c:v>
                </c:pt>
                <c:pt idx="116">
                  <c:v>334</c:v>
                </c:pt>
                <c:pt idx="117">
                  <c:v>325</c:v>
                </c:pt>
                <c:pt idx="118">
                  <c:v>317</c:v>
                </c:pt>
                <c:pt idx="119">
                  <c:v>308</c:v>
                </c:pt>
                <c:pt idx="120">
                  <c:v>300</c:v>
                </c:pt>
                <c:pt idx="121">
                  <c:v>292</c:v>
                </c:pt>
                <c:pt idx="122">
                  <c:v>284</c:v>
                </c:pt>
                <c:pt idx="123">
                  <c:v>276</c:v>
                </c:pt>
                <c:pt idx="124">
                  <c:v>268</c:v>
                </c:pt>
                <c:pt idx="125">
                  <c:v>261</c:v>
                </c:pt>
                <c:pt idx="126">
                  <c:v>253</c:v>
                </c:pt>
                <c:pt idx="127">
                  <c:v>246</c:v>
                </c:pt>
                <c:pt idx="128">
                  <c:v>239</c:v>
                </c:pt>
                <c:pt idx="129">
                  <c:v>232</c:v>
                </c:pt>
                <c:pt idx="130">
                  <c:v>225</c:v>
                </c:pt>
                <c:pt idx="131">
                  <c:v>219</c:v>
                </c:pt>
                <c:pt idx="132">
                  <c:v>212</c:v>
                </c:pt>
                <c:pt idx="133">
                  <c:v>206</c:v>
                </c:pt>
                <c:pt idx="134">
                  <c:v>200</c:v>
                </c:pt>
                <c:pt idx="135">
                  <c:v>194</c:v>
                </c:pt>
                <c:pt idx="136">
                  <c:v>188</c:v>
                </c:pt>
                <c:pt idx="137">
                  <c:v>182</c:v>
                </c:pt>
                <c:pt idx="138">
                  <c:v>176</c:v>
                </c:pt>
                <c:pt idx="139">
                  <c:v>171</c:v>
                </c:pt>
                <c:pt idx="140">
                  <c:v>165</c:v>
                </c:pt>
                <c:pt idx="141">
                  <c:v>160</c:v>
                </c:pt>
                <c:pt idx="142">
                  <c:v>155</c:v>
                </c:pt>
                <c:pt idx="143">
                  <c:v>149</c:v>
                </c:pt>
                <c:pt idx="144">
                  <c:v>145</c:v>
                </c:pt>
                <c:pt idx="145">
                  <c:v>140</c:v>
                </c:pt>
                <c:pt idx="146">
                  <c:v>135</c:v>
                </c:pt>
                <c:pt idx="147">
                  <c:v>131</c:v>
                </c:pt>
                <c:pt idx="148">
                  <c:v>126</c:v>
                </c:pt>
                <c:pt idx="149">
                  <c:v>122</c:v>
                </c:pt>
                <c:pt idx="150">
                  <c:v>118</c:v>
                </c:pt>
                <c:pt idx="151">
                  <c:v>114</c:v>
                </c:pt>
                <c:pt idx="152">
                  <c:v>110</c:v>
                </c:pt>
                <c:pt idx="153">
                  <c:v>106</c:v>
                </c:pt>
                <c:pt idx="154">
                  <c:v>103</c:v>
                </c:pt>
                <c:pt idx="155">
                  <c:v>99</c:v>
                </c:pt>
                <c:pt idx="156">
                  <c:v>96</c:v>
                </c:pt>
                <c:pt idx="157">
                  <c:v>92</c:v>
                </c:pt>
                <c:pt idx="158">
                  <c:v>89</c:v>
                </c:pt>
                <c:pt idx="159">
                  <c:v>86</c:v>
                </c:pt>
                <c:pt idx="160">
                  <c:v>83</c:v>
                </c:pt>
                <c:pt idx="161">
                  <c:v>79</c:v>
                </c:pt>
                <c:pt idx="162">
                  <c:v>76</c:v>
                </c:pt>
                <c:pt idx="163">
                  <c:v>73</c:v>
                </c:pt>
                <c:pt idx="164">
                  <c:v>70</c:v>
                </c:pt>
                <c:pt idx="165">
                  <c:v>67</c:v>
                </c:pt>
                <c:pt idx="166">
                  <c:v>64</c:v>
                </c:pt>
                <c:pt idx="167">
                  <c:v>61</c:v>
                </c:pt>
                <c:pt idx="168">
                  <c:v>58</c:v>
                </c:pt>
                <c:pt idx="169">
                  <c:v>55</c:v>
                </c:pt>
                <c:pt idx="170">
                  <c:v>52</c:v>
                </c:pt>
                <c:pt idx="171">
                  <c:v>50</c:v>
                </c:pt>
                <c:pt idx="172">
                  <c:v>47</c:v>
                </c:pt>
                <c:pt idx="173">
                  <c:v>44</c:v>
                </c:pt>
                <c:pt idx="174">
                  <c:v>42</c:v>
                </c:pt>
                <c:pt idx="175">
                  <c:v>40</c:v>
                </c:pt>
                <c:pt idx="176">
                  <c:v>38</c:v>
                </c:pt>
                <c:pt idx="177">
                  <c:v>36</c:v>
                </c:pt>
                <c:pt idx="178">
                  <c:v>34</c:v>
                </c:pt>
                <c:pt idx="179">
                  <c:v>32</c:v>
                </c:pt>
                <c:pt idx="180">
                  <c:v>30</c:v>
                </c:pt>
                <c:pt idx="181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620</c:v>
                </c:pt>
                <c:pt idx="89">
                  <c:v>622</c:v>
                </c:pt>
                <c:pt idx="90">
                  <c:v>619</c:v>
                </c:pt>
                <c:pt idx="91">
                  <c:v>615</c:v>
                </c:pt>
                <c:pt idx="92">
                  <c:v>610</c:v>
                </c:pt>
                <c:pt idx="93">
                  <c:v>604</c:v>
                </c:pt>
                <c:pt idx="94">
                  <c:v>597</c:v>
                </c:pt>
                <c:pt idx="95">
                  <c:v>590</c:v>
                </c:pt>
                <c:pt idx="96">
                  <c:v>582</c:v>
                </c:pt>
                <c:pt idx="97">
                  <c:v>574</c:v>
                </c:pt>
                <c:pt idx="98">
                  <c:v>566</c:v>
                </c:pt>
                <c:pt idx="99">
                  <c:v>558</c:v>
                </c:pt>
                <c:pt idx="100">
                  <c:v>550</c:v>
                </c:pt>
                <c:pt idx="101">
                  <c:v>541</c:v>
                </c:pt>
                <c:pt idx="102">
                  <c:v>533</c:v>
                </c:pt>
                <c:pt idx="103">
                  <c:v>524</c:v>
                </c:pt>
                <c:pt idx="104">
                  <c:v>515</c:v>
                </c:pt>
                <c:pt idx="105">
                  <c:v>506</c:v>
                </c:pt>
                <c:pt idx="106">
                  <c:v>498</c:v>
                </c:pt>
                <c:pt idx="107">
                  <c:v>489</c:v>
                </c:pt>
                <c:pt idx="108">
                  <c:v>480</c:v>
                </c:pt>
                <c:pt idx="109">
                  <c:v>471</c:v>
                </c:pt>
                <c:pt idx="110">
                  <c:v>462</c:v>
                </c:pt>
                <c:pt idx="111">
                  <c:v>454</c:v>
                </c:pt>
                <c:pt idx="112">
                  <c:v>445</c:v>
                </c:pt>
                <c:pt idx="113">
                  <c:v>436</c:v>
                </c:pt>
                <c:pt idx="114">
                  <c:v>428</c:v>
                </c:pt>
                <c:pt idx="115">
                  <c:v>420</c:v>
                </c:pt>
                <c:pt idx="116">
                  <c:v>411</c:v>
                </c:pt>
                <c:pt idx="117">
                  <c:v>403</c:v>
                </c:pt>
                <c:pt idx="118">
                  <c:v>395</c:v>
                </c:pt>
                <c:pt idx="119">
                  <c:v>387</c:v>
                </c:pt>
                <c:pt idx="120">
                  <c:v>379</c:v>
                </c:pt>
                <c:pt idx="121">
                  <c:v>371</c:v>
                </c:pt>
                <c:pt idx="122">
                  <c:v>363</c:v>
                </c:pt>
                <c:pt idx="123">
                  <c:v>355</c:v>
                </c:pt>
                <c:pt idx="124">
                  <c:v>348</c:v>
                </c:pt>
                <c:pt idx="125">
                  <c:v>340</c:v>
                </c:pt>
                <c:pt idx="126">
                  <c:v>333</c:v>
                </c:pt>
                <c:pt idx="127">
                  <c:v>326</c:v>
                </c:pt>
                <c:pt idx="128">
                  <c:v>318</c:v>
                </c:pt>
                <c:pt idx="129">
                  <c:v>311</c:v>
                </c:pt>
                <c:pt idx="130">
                  <c:v>304</c:v>
                </c:pt>
                <c:pt idx="131">
                  <c:v>298</c:v>
                </c:pt>
                <c:pt idx="132">
                  <c:v>291</c:v>
                </c:pt>
                <c:pt idx="133">
                  <c:v>284</c:v>
                </c:pt>
                <c:pt idx="134">
                  <c:v>278</c:v>
                </c:pt>
                <c:pt idx="135">
                  <c:v>272</c:v>
                </c:pt>
                <c:pt idx="136">
                  <c:v>265</c:v>
                </c:pt>
                <c:pt idx="137">
                  <c:v>259</c:v>
                </c:pt>
                <c:pt idx="138">
                  <c:v>253</c:v>
                </c:pt>
                <c:pt idx="139">
                  <c:v>247</c:v>
                </c:pt>
                <c:pt idx="140">
                  <c:v>242</c:v>
                </c:pt>
                <c:pt idx="141">
                  <c:v>236</c:v>
                </c:pt>
                <c:pt idx="142">
                  <c:v>230</c:v>
                </c:pt>
                <c:pt idx="143">
                  <c:v>225</c:v>
                </c:pt>
                <c:pt idx="144">
                  <c:v>220</c:v>
                </c:pt>
                <c:pt idx="145">
                  <c:v>214</c:v>
                </c:pt>
                <c:pt idx="146">
                  <c:v>209</c:v>
                </c:pt>
                <c:pt idx="147">
                  <c:v>204</c:v>
                </c:pt>
                <c:pt idx="148">
                  <c:v>199</c:v>
                </c:pt>
                <c:pt idx="149">
                  <c:v>195</c:v>
                </c:pt>
                <c:pt idx="150">
                  <c:v>190</c:v>
                </c:pt>
                <c:pt idx="151">
                  <c:v>185</c:v>
                </c:pt>
                <c:pt idx="152">
                  <c:v>181</c:v>
                </c:pt>
                <c:pt idx="153">
                  <c:v>176</c:v>
                </c:pt>
                <c:pt idx="154">
                  <c:v>172</c:v>
                </c:pt>
                <c:pt idx="155">
                  <c:v>168</c:v>
                </c:pt>
                <c:pt idx="156">
                  <c:v>164</c:v>
                </c:pt>
                <c:pt idx="157">
                  <c:v>160</c:v>
                </c:pt>
                <c:pt idx="158">
                  <c:v>156</c:v>
                </c:pt>
                <c:pt idx="159">
                  <c:v>152</c:v>
                </c:pt>
                <c:pt idx="160">
                  <c:v>148</c:v>
                </c:pt>
                <c:pt idx="161">
                  <c:v>144</c:v>
                </c:pt>
                <c:pt idx="162">
                  <c:v>141</c:v>
                </c:pt>
                <c:pt idx="163">
                  <c:v>137</c:v>
                </c:pt>
                <c:pt idx="164">
                  <c:v>134</c:v>
                </c:pt>
                <c:pt idx="165">
                  <c:v>130</c:v>
                </c:pt>
                <c:pt idx="166">
                  <c:v>127</c:v>
                </c:pt>
                <c:pt idx="167">
                  <c:v>124</c:v>
                </c:pt>
                <c:pt idx="168">
                  <c:v>121</c:v>
                </c:pt>
                <c:pt idx="169">
                  <c:v>118</c:v>
                </c:pt>
                <c:pt idx="170">
                  <c:v>115</c:v>
                </c:pt>
                <c:pt idx="171">
                  <c:v>112</c:v>
                </c:pt>
                <c:pt idx="172">
                  <c:v>109</c:v>
                </c:pt>
                <c:pt idx="173">
                  <c:v>106</c:v>
                </c:pt>
                <c:pt idx="174">
                  <c:v>104</c:v>
                </c:pt>
                <c:pt idx="175">
                  <c:v>101</c:v>
                </c:pt>
                <c:pt idx="176">
                  <c:v>98</c:v>
                </c:pt>
                <c:pt idx="177">
                  <c:v>96</c:v>
                </c:pt>
                <c:pt idx="178">
                  <c:v>93</c:v>
                </c:pt>
                <c:pt idx="179">
                  <c:v>91</c:v>
                </c:pt>
                <c:pt idx="180">
                  <c:v>89</c:v>
                </c:pt>
                <c:pt idx="181">
                  <c:v>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8</c:v>
                </c:pt>
                <c:pt idx="1">
                  <c:v>256</c:v>
                </c:pt>
                <c:pt idx="2">
                  <c:v>237</c:v>
                </c:pt>
                <c:pt idx="3">
                  <c:v>339</c:v>
                </c:pt>
                <c:pt idx="4">
                  <c:v>148</c:v>
                </c:pt>
                <c:pt idx="5">
                  <c:v>26</c:v>
                </c:pt>
                <c:pt idx="6">
                  <c:v>321</c:v>
                </c:pt>
                <c:pt idx="7">
                  <c:v>338</c:v>
                </c:pt>
                <c:pt idx="8">
                  <c:v>558</c:v>
                </c:pt>
                <c:pt idx="9">
                  <c:v>254</c:v>
                </c:pt>
                <c:pt idx="10">
                  <c:v>486</c:v>
                </c:pt>
                <c:pt idx="11">
                  <c:v>88</c:v>
                </c:pt>
                <c:pt idx="12">
                  <c:v>135</c:v>
                </c:pt>
                <c:pt idx="13">
                  <c:v>390</c:v>
                </c:pt>
                <c:pt idx="14">
                  <c:v>485</c:v>
                </c:pt>
                <c:pt idx="15">
                  <c:v>533</c:v>
                </c:pt>
                <c:pt idx="16">
                  <c:v>496</c:v>
                </c:pt>
                <c:pt idx="17">
                  <c:v>424</c:v>
                </c:pt>
                <c:pt idx="18">
                  <c:v>177</c:v>
                </c:pt>
                <c:pt idx="19">
                  <c:v>193</c:v>
                </c:pt>
                <c:pt idx="20">
                  <c:v>528</c:v>
                </c:pt>
                <c:pt idx="21">
                  <c:v>406</c:v>
                </c:pt>
                <c:pt idx="22">
                  <c:v>1134</c:v>
                </c:pt>
                <c:pt idx="23">
                  <c:v>101</c:v>
                </c:pt>
                <c:pt idx="24">
                  <c:v>173</c:v>
                </c:pt>
                <c:pt idx="25">
                  <c:v>113</c:v>
                </c:pt>
                <c:pt idx="26">
                  <c:v>194</c:v>
                </c:pt>
                <c:pt idx="27">
                  <c:v>397</c:v>
                </c:pt>
                <c:pt idx="28">
                  <c:v>1246</c:v>
                </c:pt>
                <c:pt idx="29">
                  <c:v>966</c:v>
                </c:pt>
                <c:pt idx="30">
                  <c:v>549</c:v>
                </c:pt>
                <c:pt idx="31">
                  <c:v>103</c:v>
                </c:pt>
                <c:pt idx="32">
                  <c:v>88</c:v>
                </c:pt>
                <c:pt idx="33">
                  <c:v>247</c:v>
                </c:pt>
                <c:pt idx="34">
                  <c:v>836</c:v>
                </c:pt>
                <c:pt idx="35">
                  <c:v>623</c:v>
                </c:pt>
                <c:pt idx="36">
                  <c:v>1270</c:v>
                </c:pt>
                <c:pt idx="37">
                  <c:v>785</c:v>
                </c:pt>
                <c:pt idx="38">
                  <c:v>389</c:v>
                </c:pt>
                <c:pt idx="39">
                  <c:v>731</c:v>
                </c:pt>
                <c:pt idx="40">
                  <c:v>165</c:v>
                </c:pt>
                <c:pt idx="41">
                  <c:v>621</c:v>
                </c:pt>
                <c:pt idx="42">
                  <c:v>669</c:v>
                </c:pt>
                <c:pt idx="43">
                  <c:v>654</c:v>
                </c:pt>
                <c:pt idx="44">
                  <c:v>289</c:v>
                </c:pt>
                <c:pt idx="45">
                  <c:v>513</c:v>
                </c:pt>
                <c:pt idx="46">
                  <c:v>114</c:v>
                </c:pt>
                <c:pt idx="47">
                  <c:v>139</c:v>
                </c:pt>
                <c:pt idx="48">
                  <c:v>711</c:v>
                </c:pt>
                <c:pt idx="49">
                  <c:v>513</c:v>
                </c:pt>
                <c:pt idx="50">
                  <c:v>485</c:v>
                </c:pt>
                <c:pt idx="51">
                  <c:v>392</c:v>
                </c:pt>
                <c:pt idx="52">
                  <c:v>429</c:v>
                </c:pt>
                <c:pt idx="53">
                  <c:v>128</c:v>
                </c:pt>
                <c:pt idx="54">
                  <c:v>127</c:v>
                </c:pt>
                <c:pt idx="55">
                  <c:v>464</c:v>
                </c:pt>
                <c:pt idx="56">
                  <c:v>522</c:v>
                </c:pt>
                <c:pt idx="57">
                  <c:v>457</c:v>
                </c:pt>
                <c:pt idx="58">
                  <c:v>379</c:v>
                </c:pt>
                <c:pt idx="59">
                  <c:v>420</c:v>
                </c:pt>
                <c:pt idx="60">
                  <c:v>82</c:v>
                </c:pt>
                <c:pt idx="61">
                  <c:v>81</c:v>
                </c:pt>
                <c:pt idx="62">
                  <c:v>489</c:v>
                </c:pt>
                <c:pt idx="63">
                  <c:v>512</c:v>
                </c:pt>
                <c:pt idx="64">
                  <c:v>406</c:v>
                </c:pt>
                <c:pt idx="65">
                  <c:v>330</c:v>
                </c:pt>
                <c:pt idx="66">
                  <c:v>387</c:v>
                </c:pt>
                <c:pt idx="67">
                  <c:v>87</c:v>
                </c:pt>
                <c:pt idx="68">
                  <c:v>83</c:v>
                </c:pt>
                <c:pt idx="69">
                  <c:v>382</c:v>
                </c:pt>
                <c:pt idx="70">
                  <c:v>490</c:v>
                </c:pt>
                <c:pt idx="71">
                  <c:v>411</c:v>
                </c:pt>
                <c:pt idx="72">
                  <c:v>374</c:v>
                </c:pt>
                <c:pt idx="73">
                  <c:v>410</c:v>
                </c:pt>
                <c:pt idx="74">
                  <c:v>98</c:v>
                </c:pt>
                <c:pt idx="75">
                  <c:v>99</c:v>
                </c:pt>
                <c:pt idx="76">
                  <c:v>558</c:v>
                </c:pt>
                <c:pt idx="77">
                  <c:v>498</c:v>
                </c:pt>
                <c:pt idx="78">
                  <c:v>438</c:v>
                </c:pt>
                <c:pt idx="79">
                  <c:v>442</c:v>
                </c:pt>
                <c:pt idx="80">
                  <c:v>332</c:v>
                </c:pt>
                <c:pt idx="81">
                  <c:v>435</c:v>
                </c:pt>
                <c:pt idx="82">
                  <c:v>37</c:v>
                </c:pt>
                <c:pt idx="83">
                  <c:v>634</c:v>
                </c:pt>
                <c:pt idx="84">
                  <c:v>661</c:v>
                </c:pt>
                <c:pt idx="85">
                  <c:v>597</c:v>
                </c:pt>
                <c:pt idx="86">
                  <c:v>395</c:v>
                </c:pt>
                <c:pt idx="87">
                  <c:v>886</c:v>
                </c:pt>
                <c:pt idx="88">
                  <c:v>190</c:v>
                </c:pt>
                <c:pt idx="89">
                  <c:v>51</c:v>
                </c:pt>
                <c:pt idx="90">
                  <c:v>712</c:v>
                </c:pt>
                <c:pt idx="91">
                  <c:v>772</c:v>
                </c:pt>
                <c:pt idx="92">
                  <c:v>676</c:v>
                </c:pt>
                <c:pt idx="93">
                  <c:v>654</c:v>
                </c:pt>
                <c:pt idx="94">
                  <c:v>553</c:v>
                </c:pt>
                <c:pt idx="95">
                  <c:v>446</c:v>
                </c:pt>
                <c:pt idx="96">
                  <c:v>161</c:v>
                </c:pt>
                <c:pt idx="97">
                  <c:v>614</c:v>
                </c:pt>
                <c:pt idx="98">
                  <c:v>770</c:v>
                </c:pt>
                <c:pt idx="99">
                  <c:v>756</c:v>
                </c:pt>
                <c:pt idx="100">
                  <c:v>659</c:v>
                </c:pt>
                <c:pt idx="101">
                  <c:v>833</c:v>
                </c:pt>
                <c:pt idx="102">
                  <c:v>190</c:v>
                </c:pt>
                <c:pt idx="103">
                  <c:v>150</c:v>
                </c:pt>
                <c:pt idx="104">
                  <c:v>675</c:v>
                </c:pt>
                <c:pt idx="105">
                  <c:v>686</c:v>
                </c:pt>
                <c:pt idx="106">
                  <c:v>706</c:v>
                </c:pt>
                <c:pt idx="107">
                  <c:v>615</c:v>
                </c:pt>
                <c:pt idx="108">
                  <c:v>655</c:v>
                </c:pt>
                <c:pt idx="109">
                  <c:v>122</c:v>
                </c:pt>
                <c:pt idx="110">
                  <c:v>143</c:v>
                </c:pt>
                <c:pt idx="111">
                  <c:v>570</c:v>
                </c:pt>
                <c:pt idx="112">
                  <c:v>622</c:v>
                </c:pt>
                <c:pt idx="113">
                  <c:v>557</c:v>
                </c:pt>
                <c:pt idx="114">
                  <c:v>365</c:v>
                </c:pt>
                <c:pt idx="115">
                  <c:v>339</c:v>
                </c:pt>
                <c:pt idx="116">
                  <c:v>146</c:v>
                </c:pt>
                <c:pt idx="117">
                  <c:v>73</c:v>
                </c:pt>
                <c:pt idx="118">
                  <c:v>734</c:v>
                </c:pt>
                <c:pt idx="119">
                  <c:v>434</c:v>
                </c:pt>
                <c:pt idx="120">
                  <c:v>456</c:v>
                </c:pt>
                <c:pt idx="121">
                  <c:v>438</c:v>
                </c:pt>
                <c:pt idx="122">
                  <c:v>225</c:v>
                </c:pt>
                <c:pt idx="123">
                  <c:v>24</c:v>
                </c:pt>
                <c:pt idx="124">
                  <c:v>80</c:v>
                </c:pt>
                <c:pt idx="125">
                  <c:v>28</c:v>
                </c:pt>
                <c:pt idx="126">
                  <c:v>464</c:v>
                </c:pt>
                <c:pt idx="127">
                  <c:v>418</c:v>
                </c:pt>
                <c:pt idx="128">
                  <c:v>492</c:v>
                </c:pt>
                <c:pt idx="129">
                  <c:v>384</c:v>
                </c:pt>
                <c:pt idx="130">
                  <c:v>63</c:v>
                </c:pt>
                <c:pt idx="131">
                  <c:v>31</c:v>
                </c:pt>
                <c:pt idx="132">
                  <c:v>406</c:v>
                </c:pt>
                <c:pt idx="133">
                  <c:v>325</c:v>
                </c:pt>
                <c:pt idx="134">
                  <c:v>342</c:v>
                </c:pt>
                <c:pt idx="135">
                  <c:v>187</c:v>
                </c:pt>
                <c:pt idx="136">
                  <c:v>260</c:v>
                </c:pt>
                <c:pt idx="137">
                  <c:v>47</c:v>
                </c:pt>
                <c:pt idx="138">
                  <c:v>46</c:v>
                </c:pt>
                <c:pt idx="139">
                  <c:v>316</c:v>
                </c:pt>
                <c:pt idx="140">
                  <c:v>282</c:v>
                </c:pt>
                <c:pt idx="141">
                  <c:v>219</c:v>
                </c:pt>
                <c:pt idx="142">
                  <c:v>162</c:v>
                </c:pt>
                <c:pt idx="143">
                  <c:v>252</c:v>
                </c:pt>
                <c:pt idx="144">
                  <c:v>49</c:v>
                </c:pt>
                <c:pt idx="145">
                  <c:v>25</c:v>
                </c:pt>
                <c:pt idx="146">
                  <c:v>239</c:v>
                </c:pt>
                <c:pt idx="147">
                  <c:v>222</c:v>
                </c:pt>
                <c:pt idx="148">
                  <c:v>196</c:v>
                </c:pt>
                <c:pt idx="149">
                  <c:v>141</c:v>
                </c:pt>
                <c:pt idx="150">
                  <c:v>128</c:v>
                </c:pt>
                <c:pt idx="151">
                  <c:v>32</c:v>
                </c:pt>
                <c:pt idx="152">
                  <c:v>39</c:v>
                </c:pt>
                <c:pt idx="153">
                  <c:v>178</c:v>
                </c:pt>
                <c:pt idx="154">
                  <c:v>109</c:v>
                </c:pt>
                <c:pt idx="155">
                  <c:v>117</c:v>
                </c:pt>
                <c:pt idx="156">
                  <c:v>73</c:v>
                </c:pt>
                <c:pt idx="157">
                  <c:v>73</c:v>
                </c:pt>
                <c:pt idx="158">
                  <c:v>6</c:v>
                </c:pt>
                <c:pt idx="159">
                  <c:v>29</c:v>
                </c:pt>
                <c:pt idx="160">
                  <c:v>139</c:v>
                </c:pt>
                <c:pt idx="161">
                  <c:v>97</c:v>
                </c:pt>
                <c:pt idx="162">
                  <c:v>89</c:v>
                </c:pt>
                <c:pt idx="163">
                  <c:v>63</c:v>
                </c:pt>
                <c:pt idx="164">
                  <c:v>59</c:v>
                </c:pt>
                <c:pt idx="165">
                  <c:v>20</c:v>
                </c:pt>
                <c:pt idx="166">
                  <c:v>21</c:v>
                </c:pt>
                <c:pt idx="167">
                  <c:v>103</c:v>
                </c:pt>
                <c:pt idx="168">
                  <c:v>87</c:v>
                </c:pt>
                <c:pt idx="169">
                  <c:v>82</c:v>
                </c:pt>
                <c:pt idx="170">
                  <c:v>54</c:v>
                </c:pt>
                <c:pt idx="171">
                  <c:v>47</c:v>
                </c:pt>
                <c:pt idx="172">
                  <c:v>13</c:v>
                </c:pt>
                <c:pt idx="173">
                  <c:v>27</c:v>
                </c:pt>
                <c:pt idx="174">
                  <c:v>59</c:v>
                </c:pt>
                <c:pt idx="175">
                  <c:v>59</c:v>
                </c:pt>
                <c:pt idx="176">
                  <c:v>62</c:v>
                </c:pt>
                <c:pt idx="177">
                  <c:v>36</c:v>
                </c:pt>
                <c:pt idx="178">
                  <c:v>22</c:v>
                </c:pt>
                <c:pt idx="179">
                  <c:v>21</c:v>
                </c:pt>
                <c:pt idx="18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B9-4B73-AA5C-C7B14DD7C0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4</c:v>
                </c:pt>
                <c:pt idx="169">
                  <c:v>71</c:v>
                </c:pt>
                <c:pt idx="170">
                  <c:v>68</c:v>
                </c:pt>
                <c:pt idx="171">
                  <c:v>65</c:v>
                </c:pt>
                <c:pt idx="172">
                  <c:v>62</c:v>
                </c:pt>
                <c:pt idx="173">
                  <c:v>59</c:v>
                </c:pt>
                <c:pt idx="174">
                  <c:v>56</c:v>
                </c:pt>
                <c:pt idx="175">
                  <c:v>53</c:v>
                </c:pt>
                <c:pt idx="176">
                  <c:v>51</c:v>
                </c:pt>
                <c:pt idx="177">
                  <c:v>48</c:v>
                </c:pt>
                <c:pt idx="178">
                  <c:v>45</c:v>
                </c:pt>
                <c:pt idx="179">
                  <c:v>43</c:v>
                </c:pt>
                <c:pt idx="180">
                  <c:v>41</c:v>
                </c:pt>
                <c:pt idx="181">
                  <c:v>38</c:v>
                </c:pt>
                <c:pt idx="182">
                  <c:v>36</c:v>
                </c:pt>
                <c:pt idx="183">
                  <c:v>34</c:v>
                </c:pt>
                <c:pt idx="184">
                  <c:v>32</c:v>
                </c:pt>
                <c:pt idx="185">
                  <c:v>30</c:v>
                </c:pt>
                <c:pt idx="186">
                  <c:v>28</c:v>
                </c:pt>
                <c:pt idx="187">
                  <c:v>27</c:v>
                </c:pt>
                <c:pt idx="188">
                  <c:v>25</c:v>
                </c:pt>
                <c:pt idx="189">
                  <c:v>24</c:v>
                </c:pt>
                <c:pt idx="190">
                  <c:v>22</c:v>
                </c:pt>
                <c:pt idx="191">
                  <c:v>21</c:v>
                </c:pt>
                <c:pt idx="192">
                  <c:v>20</c:v>
                </c:pt>
                <c:pt idx="193">
                  <c:v>19</c:v>
                </c:pt>
                <c:pt idx="194">
                  <c:v>18</c:v>
                </c:pt>
                <c:pt idx="195">
                  <c:v>17</c:v>
                </c:pt>
                <c:pt idx="196">
                  <c:v>16</c:v>
                </c:pt>
                <c:pt idx="197">
                  <c:v>15</c:v>
                </c:pt>
                <c:pt idx="198">
                  <c:v>14</c:v>
                </c:pt>
                <c:pt idx="199">
                  <c:v>13</c:v>
                </c:pt>
                <c:pt idx="200">
                  <c:v>12</c:v>
                </c:pt>
                <c:pt idx="201">
                  <c:v>11</c:v>
                </c:pt>
                <c:pt idx="202">
                  <c:v>11</c:v>
                </c:pt>
                <c:pt idx="203">
                  <c:v>10</c:v>
                </c:pt>
                <c:pt idx="204">
                  <c:v>9</c:v>
                </c:pt>
                <c:pt idx="205">
                  <c:v>9</c:v>
                </c:pt>
                <c:pt idx="206">
                  <c:v>8</c:v>
                </c:pt>
                <c:pt idx="207">
                  <c:v>7</c:v>
                </c:pt>
                <c:pt idx="208">
                  <c:v>7</c:v>
                </c:pt>
                <c:pt idx="209">
                  <c:v>6</c:v>
                </c:pt>
                <c:pt idx="210">
                  <c:v>6</c:v>
                </c:pt>
                <c:pt idx="211">
                  <c:v>6</c:v>
                </c:pt>
                <c:pt idx="212">
                  <c:v>5</c:v>
                </c:pt>
                <c:pt idx="213">
                  <c:v>5</c:v>
                </c:pt>
                <c:pt idx="214">
                  <c:v>4</c:v>
                </c:pt>
                <c:pt idx="215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B9-4B73-AA5C-C7B14DD7C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6</c:v>
                </c:pt>
                <c:pt idx="169">
                  <c:v>75</c:v>
                </c:pt>
                <c:pt idx="170">
                  <c:v>75</c:v>
                </c:pt>
                <c:pt idx="171">
                  <c:v>75</c:v>
                </c:pt>
                <c:pt idx="172">
                  <c:v>74</c:v>
                </c:pt>
                <c:pt idx="173">
                  <c:v>74</c:v>
                </c:pt>
                <c:pt idx="174">
                  <c:v>74</c:v>
                </c:pt>
                <c:pt idx="175">
                  <c:v>75</c:v>
                </c:pt>
                <c:pt idx="176">
                  <c:v>77</c:v>
                </c:pt>
                <c:pt idx="177">
                  <c:v>78</c:v>
                </c:pt>
                <c:pt idx="178">
                  <c:v>80</c:v>
                </c:pt>
                <c:pt idx="179">
                  <c:v>82</c:v>
                </c:pt>
                <c:pt idx="180">
                  <c:v>84</c:v>
                </c:pt>
                <c:pt idx="181">
                  <c:v>86</c:v>
                </c:pt>
                <c:pt idx="182">
                  <c:v>89</c:v>
                </c:pt>
                <c:pt idx="183">
                  <c:v>91</c:v>
                </c:pt>
                <c:pt idx="184">
                  <c:v>93</c:v>
                </c:pt>
                <c:pt idx="185">
                  <c:v>95</c:v>
                </c:pt>
                <c:pt idx="186">
                  <c:v>97</c:v>
                </c:pt>
                <c:pt idx="187">
                  <c:v>99</c:v>
                </c:pt>
                <c:pt idx="188">
                  <c:v>101</c:v>
                </c:pt>
                <c:pt idx="189">
                  <c:v>104</c:v>
                </c:pt>
                <c:pt idx="190">
                  <c:v>106</c:v>
                </c:pt>
                <c:pt idx="191">
                  <c:v>109</c:v>
                </c:pt>
                <c:pt idx="192">
                  <c:v>111</c:v>
                </c:pt>
                <c:pt idx="193">
                  <c:v>113</c:v>
                </c:pt>
                <c:pt idx="194">
                  <c:v>116</c:v>
                </c:pt>
                <c:pt idx="195">
                  <c:v>118</c:v>
                </c:pt>
                <c:pt idx="196">
                  <c:v>120</c:v>
                </c:pt>
                <c:pt idx="197">
                  <c:v>122</c:v>
                </c:pt>
                <c:pt idx="198">
                  <c:v>124</c:v>
                </c:pt>
                <c:pt idx="199">
                  <c:v>126</c:v>
                </c:pt>
                <c:pt idx="200">
                  <c:v>127</c:v>
                </c:pt>
                <c:pt idx="201">
                  <c:v>129</c:v>
                </c:pt>
                <c:pt idx="202">
                  <c:v>130</c:v>
                </c:pt>
                <c:pt idx="203">
                  <c:v>131</c:v>
                </c:pt>
                <c:pt idx="204">
                  <c:v>132</c:v>
                </c:pt>
                <c:pt idx="205">
                  <c:v>132</c:v>
                </c:pt>
                <c:pt idx="206">
                  <c:v>133</c:v>
                </c:pt>
                <c:pt idx="207">
                  <c:v>133</c:v>
                </c:pt>
                <c:pt idx="208">
                  <c:v>133</c:v>
                </c:pt>
                <c:pt idx="209">
                  <c:v>133</c:v>
                </c:pt>
                <c:pt idx="210">
                  <c:v>133</c:v>
                </c:pt>
                <c:pt idx="211">
                  <c:v>132</c:v>
                </c:pt>
                <c:pt idx="212">
                  <c:v>131</c:v>
                </c:pt>
                <c:pt idx="213">
                  <c:v>131</c:v>
                </c:pt>
                <c:pt idx="214">
                  <c:v>129</c:v>
                </c:pt>
                <c:pt idx="215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1B9-4B73-AA5C-C7B14DD7C0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B9-4B73-AA5C-C7B14DD7C0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400</c:v>
                </c:pt>
                <c:pt idx="1">
                  <c:v>398</c:v>
                </c:pt>
                <c:pt idx="2">
                  <c:v>499</c:v>
                </c:pt>
                <c:pt idx="3">
                  <c:v>411</c:v>
                </c:pt>
                <c:pt idx="4">
                  <c:v>355</c:v>
                </c:pt>
                <c:pt idx="5">
                  <c:v>144</c:v>
                </c:pt>
                <c:pt idx="6">
                  <c:v>333</c:v>
                </c:pt>
                <c:pt idx="7">
                  <c:v>550</c:v>
                </c:pt>
                <c:pt idx="8">
                  <c:v>525</c:v>
                </c:pt>
                <c:pt idx="9">
                  <c:v>571</c:v>
                </c:pt>
                <c:pt idx="10">
                  <c:v>512</c:v>
                </c:pt>
                <c:pt idx="11">
                  <c:v>403</c:v>
                </c:pt>
                <c:pt idx="12">
                  <c:v>235</c:v>
                </c:pt>
                <c:pt idx="13">
                  <c:v>446</c:v>
                </c:pt>
                <c:pt idx="14">
                  <c:v>860</c:v>
                </c:pt>
                <c:pt idx="15">
                  <c:v>774</c:v>
                </c:pt>
                <c:pt idx="16">
                  <c:v>857</c:v>
                </c:pt>
                <c:pt idx="17">
                  <c:v>852</c:v>
                </c:pt>
                <c:pt idx="18">
                  <c:v>811</c:v>
                </c:pt>
                <c:pt idx="19">
                  <c:v>431</c:v>
                </c:pt>
                <c:pt idx="20">
                  <c:v>787</c:v>
                </c:pt>
                <c:pt idx="21">
                  <c:v>1194</c:v>
                </c:pt>
                <c:pt idx="22">
                  <c:v>1461</c:v>
                </c:pt>
                <c:pt idx="23">
                  <c:v>779</c:v>
                </c:pt>
                <c:pt idx="24">
                  <c:v>331</c:v>
                </c:pt>
                <c:pt idx="25">
                  <c:v>313</c:v>
                </c:pt>
                <c:pt idx="26">
                  <c:v>587</c:v>
                </c:pt>
                <c:pt idx="27">
                  <c:v>1333</c:v>
                </c:pt>
                <c:pt idx="28">
                  <c:v>2021</c:v>
                </c:pt>
                <c:pt idx="29">
                  <c:v>1882</c:v>
                </c:pt>
                <c:pt idx="30">
                  <c:v>1769</c:v>
                </c:pt>
                <c:pt idx="31">
                  <c:v>394</c:v>
                </c:pt>
                <c:pt idx="32">
                  <c:v>567</c:v>
                </c:pt>
                <c:pt idx="33">
                  <c:v>849</c:v>
                </c:pt>
                <c:pt idx="34">
                  <c:v>1263</c:v>
                </c:pt>
                <c:pt idx="35">
                  <c:v>2064</c:v>
                </c:pt>
                <c:pt idx="36">
                  <c:v>1797</c:v>
                </c:pt>
                <c:pt idx="37">
                  <c:v>1404</c:v>
                </c:pt>
                <c:pt idx="38">
                  <c:v>1261</c:v>
                </c:pt>
                <c:pt idx="39">
                  <c:v>788</c:v>
                </c:pt>
                <c:pt idx="40">
                  <c:v>486</c:v>
                </c:pt>
                <c:pt idx="41">
                  <c:v>806</c:v>
                </c:pt>
                <c:pt idx="42">
                  <c:v>957</c:v>
                </c:pt>
                <c:pt idx="43">
                  <c:v>1062</c:v>
                </c:pt>
                <c:pt idx="44">
                  <c:v>733</c:v>
                </c:pt>
                <c:pt idx="45">
                  <c:v>754</c:v>
                </c:pt>
                <c:pt idx="46">
                  <c:v>484</c:v>
                </c:pt>
                <c:pt idx="47">
                  <c:v>275</c:v>
                </c:pt>
                <c:pt idx="48">
                  <c:v>720</c:v>
                </c:pt>
                <c:pt idx="49">
                  <c:v>913</c:v>
                </c:pt>
                <c:pt idx="50">
                  <c:v>800</c:v>
                </c:pt>
                <c:pt idx="51">
                  <c:v>665</c:v>
                </c:pt>
                <c:pt idx="52">
                  <c:v>888</c:v>
                </c:pt>
                <c:pt idx="53">
                  <c:v>484</c:v>
                </c:pt>
                <c:pt idx="54">
                  <c:v>282</c:v>
                </c:pt>
                <c:pt idx="55">
                  <c:v>736</c:v>
                </c:pt>
                <c:pt idx="56">
                  <c:v>956</c:v>
                </c:pt>
                <c:pt idx="57">
                  <c:v>877</c:v>
                </c:pt>
                <c:pt idx="58">
                  <c:v>835</c:v>
                </c:pt>
                <c:pt idx="59">
                  <c:v>912</c:v>
                </c:pt>
                <c:pt idx="60">
                  <c:v>439</c:v>
                </c:pt>
                <c:pt idx="61">
                  <c:v>325</c:v>
                </c:pt>
                <c:pt idx="62">
                  <c:v>784</c:v>
                </c:pt>
                <c:pt idx="63">
                  <c:v>972</c:v>
                </c:pt>
                <c:pt idx="64">
                  <c:v>978</c:v>
                </c:pt>
                <c:pt idx="65">
                  <c:v>1061</c:v>
                </c:pt>
                <c:pt idx="66">
                  <c:v>895</c:v>
                </c:pt>
                <c:pt idx="67">
                  <c:v>596</c:v>
                </c:pt>
                <c:pt idx="68">
                  <c:v>338</c:v>
                </c:pt>
                <c:pt idx="69">
                  <c:v>1170</c:v>
                </c:pt>
                <c:pt idx="70">
                  <c:v>1150</c:v>
                </c:pt>
                <c:pt idx="71">
                  <c:v>992</c:v>
                </c:pt>
                <c:pt idx="72">
                  <c:v>1111</c:v>
                </c:pt>
                <c:pt idx="73">
                  <c:v>992</c:v>
                </c:pt>
                <c:pt idx="74">
                  <c:v>834</c:v>
                </c:pt>
                <c:pt idx="75">
                  <c:v>470</c:v>
                </c:pt>
                <c:pt idx="76">
                  <c:v>1081</c:v>
                </c:pt>
                <c:pt idx="77">
                  <c:v>1369</c:v>
                </c:pt>
                <c:pt idx="78">
                  <c:v>1343</c:v>
                </c:pt>
                <c:pt idx="79">
                  <c:v>1378</c:v>
                </c:pt>
                <c:pt idx="80">
                  <c:v>1220</c:v>
                </c:pt>
                <c:pt idx="81">
                  <c:v>975</c:v>
                </c:pt>
                <c:pt idx="82">
                  <c:v>790</c:v>
                </c:pt>
                <c:pt idx="83">
                  <c:v>1268</c:v>
                </c:pt>
                <c:pt idx="84">
                  <c:v>2038</c:v>
                </c:pt>
                <c:pt idx="85">
                  <c:v>1494</c:v>
                </c:pt>
                <c:pt idx="86">
                  <c:v>1676</c:v>
                </c:pt>
                <c:pt idx="87">
                  <c:v>1796</c:v>
                </c:pt>
                <c:pt idx="88">
                  <c:v>1242</c:v>
                </c:pt>
                <c:pt idx="89">
                  <c:v>946</c:v>
                </c:pt>
                <c:pt idx="90">
                  <c:v>1483</c:v>
                </c:pt>
                <c:pt idx="91">
                  <c:v>2010</c:v>
                </c:pt>
                <c:pt idx="92">
                  <c:v>1659</c:v>
                </c:pt>
                <c:pt idx="93">
                  <c:v>1850</c:v>
                </c:pt>
                <c:pt idx="94">
                  <c:v>1462</c:v>
                </c:pt>
                <c:pt idx="95">
                  <c:v>1284</c:v>
                </c:pt>
                <c:pt idx="96">
                  <c:v>642</c:v>
                </c:pt>
                <c:pt idx="97">
                  <c:v>1168</c:v>
                </c:pt>
                <c:pt idx="98">
                  <c:v>1784</c:v>
                </c:pt>
                <c:pt idx="99">
                  <c:v>1705</c:v>
                </c:pt>
                <c:pt idx="100">
                  <c:v>1117</c:v>
                </c:pt>
                <c:pt idx="101">
                  <c:v>1402</c:v>
                </c:pt>
                <c:pt idx="102">
                  <c:v>935</c:v>
                </c:pt>
                <c:pt idx="103">
                  <c:v>508</c:v>
                </c:pt>
                <c:pt idx="104">
                  <c:v>1016</c:v>
                </c:pt>
                <c:pt idx="105">
                  <c:v>1455</c:v>
                </c:pt>
                <c:pt idx="106">
                  <c:v>1207</c:v>
                </c:pt>
                <c:pt idx="107">
                  <c:v>1052</c:v>
                </c:pt>
                <c:pt idx="108">
                  <c:v>1195</c:v>
                </c:pt>
                <c:pt idx="109">
                  <c:v>644</c:v>
                </c:pt>
                <c:pt idx="110">
                  <c:v>337</c:v>
                </c:pt>
                <c:pt idx="111">
                  <c:v>879</c:v>
                </c:pt>
                <c:pt idx="112">
                  <c:v>1008</c:v>
                </c:pt>
                <c:pt idx="113">
                  <c:v>782</c:v>
                </c:pt>
                <c:pt idx="114">
                  <c:v>798</c:v>
                </c:pt>
                <c:pt idx="115">
                  <c:v>779</c:v>
                </c:pt>
                <c:pt idx="116">
                  <c:v>482</c:v>
                </c:pt>
                <c:pt idx="117">
                  <c:v>236</c:v>
                </c:pt>
                <c:pt idx="118">
                  <c:v>663</c:v>
                </c:pt>
                <c:pt idx="119">
                  <c:v>759</c:v>
                </c:pt>
                <c:pt idx="120">
                  <c:v>724</c:v>
                </c:pt>
                <c:pt idx="121">
                  <c:v>471</c:v>
                </c:pt>
                <c:pt idx="122">
                  <c:v>540</c:v>
                </c:pt>
                <c:pt idx="123">
                  <c:v>269</c:v>
                </c:pt>
                <c:pt idx="124">
                  <c:v>255</c:v>
                </c:pt>
                <c:pt idx="125">
                  <c:v>186</c:v>
                </c:pt>
                <c:pt idx="126">
                  <c:v>459</c:v>
                </c:pt>
                <c:pt idx="127">
                  <c:v>642</c:v>
                </c:pt>
                <c:pt idx="128">
                  <c:v>431</c:v>
                </c:pt>
                <c:pt idx="129">
                  <c:v>443</c:v>
                </c:pt>
                <c:pt idx="130">
                  <c:v>277</c:v>
                </c:pt>
                <c:pt idx="131">
                  <c:v>149</c:v>
                </c:pt>
                <c:pt idx="132">
                  <c:v>349</c:v>
                </c:pt>
                <c:pt idx="133">
                  <c:v>436</c:v>
                </c:pt>
                <c:pt idx="134">
                  <c:v>351</c:v>
                </c:pt>
                <c:pt idx="135">
                  <c:v>269</c:v>
                </c:pt>
                <c:pt idx="136">
                  <c:v>343</c:v>
                </c:pt>
                <c:pt idx="137">
                  <c:v>209</c:v>
                </c:pt>
                <c:pt idx="138">
                  <c:v>84</c:v>
                </c:pt>
                <c:pt idx="139">
                  <c:v>260</c:v>
                </c:pt>
                <c:pt idx="140">
                  <c:v>366</c:v>
                </c:pt>
                <c:pt idx="141">
                  <c:v>261</c:v>
                </c:pt>
                <c:pt idx="142">
                  <c:v>212</c:v>
                </c:pt>
                <c:pt idx="143">
                  <c:v>238</c:v>
                </c:pt>
                <c:pt idx="144">
                  <c:v>173</c:v>
                </c:pt>
                <c:pt idx="145">
                  <c:v>95</c:v>
                </c:pt>
                <c:pt idx="146">
                  <c:v>198</c:v>
                </c:pt>
                <c:pt idx="147">
                  <c:v>298</c:v>
                </c:pt>
                <c:pt idx="148">
                  <c:v>232</c:v>
                </c:pt>
                <c:pt idx="149">
                  <c:v>237</c:v>
                </c:pt>
                <c:pt idx="150">
                  <c:v>210</c:v>
                </c:pt>
                <c:pt idx="151">
                  <c:v>126</c:v>
                </c:pt>
                <c:pt idx="152">
                  <c:v>71</c:v>
                </c:pt>
                <c:pt idx="153">
                  <c:v>259</c:v>
                </c:pt>
                <c:pt idx="154">
                  <c:v>186</c:v>
                </c:pt>
                <c:pt idx="155">
                  <c:v>161</c:v>
                </c:pt>
                <c:pt idx="156">
                  <c:v>174</c:v>
                </c:pt>
                <c:pt idx="157">
                  <c:v>183</c:v>
                </c:pt>
                <c:pt idx="158">
                  <c:v>94</c:v>
                </c:pt>
                <c:pt idx="159">
                  <c:v>52</c:v>
                </c:pt>
                <c:pt idx="160">
                  <c:v>138</c:v>
                </c:pt>
                <c:pt idx="161">
                  <c:v>153</c:v>
                </c:pt>
                <c:pt idx="162">
                  <c:v>139</c:v>
                </c:pt>
                <c:pt idx="163">
                  <c:v>100</c:v>
                </c:pt>
                <c:pt idx="164">
                  <c:v>111</c:v>
                </c:pt>
                <c:pt idx="165">
                  <c:v>76</c:v>
                </c:pt>
                <c:pt idx="166">
                  <c:v>30</c:v>
                </c:pt>
                <c:pt idx="167">
                  <c:v>122</c:v>
                </c:pt>
                <c:pt idx="168">
                  <c:v>136</c:v>
                </c:pt>
                <c:pt idx="169">
                  <c:v>95</c:v>
                </c:pt>
                <c:pt idx="170">
                  <c:v>68</c:v>
                </c:pt>
                <c:pt idx="171">
                  <c:v>77</c:v>
                </c:pt>
                <c:pt idx="172">
                  <c:v>60</c:v>
                </c:pt>
                <c:pt idx="173">
                  <c:v>22</c:v>
                </c:pt>
                <c:pt idx="174">
                  <c:v>69</c:v>
                </c:pt>
                <c:pt idx="175">
                  <c:v>72</c:v>
                </c:pt>
                <c:pt idx="176">
                  <c:v>66</c:v>
                </c:pt>
                <c:pt idx="177">
                  <c:v>48</c:v>
                </c:pt>
                <c:pt idx="178">
                  <c:v>52</c:v>
                </c:pt>
                <c:pt idx="179">
                  <c:v>36</c:v>
                </c:pt>
                <c:pt idx="18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747</c:v>
                </c:pt>
                <c:pt idx="89">
                  <c:v>1778</c:v>
                </c:pt>
                <c:pt idx="90">
                  <c:v>1804</c:v>
                </c:pt>
                <c:pt idx="91">
                  <c:v>1826</c:v>
                </c:pt>
                <c:pt idx="92">
                  <c:v>1847</c:v>
                </c:pt>
                <c:pt idx="93">
                  <c:v>1866</c:v>
                </c:pt>
                <c:pt idx="94">
                  <c:v>1884</c:v>
                </c:pt>
                <c:pt idx="95">
                  <c:v>1900</c:v>
                </c:pt>
                <c:pt idx="96">
                  <c:v>1916</c:v>
                </c:pt>
                <c:pt idx="97">
                  <c:v>1930</c:v>
                </c:pt>
                <c:pt idx="98">
                  <c:v>1944</c:v>
                </c:pt>
                <c:pt idx="99">
                  <c:v>1956</c:v>
                </c:pt>
                <c:pt idx="100">
                  <c:v>1968</c:v>
                </c:pt>
                <c:pt idx="101">
                  <c:v>1979</c:v>
                </c:pt>
                <c:pt idx="102">
                  <c:v>1988</c:v>
                </c:pt>
                <c:pt idx="103">
                  <c:v>1997</c:v>
                </c:pt>
                <c:pt idx="104">
                  <c:v>2005</c:v>
                </c:pt>
                <c:pt idx="105">
                  <c:v>2012</c:v>
                </c:pt>
                <c:pt idx="106">
                  <c:v>2018</c:v>
                </c:pt>
                <c:pt idx="107">
                  <c:v>2024</c:v>
                </c:pt>
                <c:pt idx="108">
                  <c:v>2028</c:v>
                </c:pt>
                <c:pt idx="109">
                  <c:v>2032</c:v>
                </c:pt>
                <c:pt idx="110">
                  <c:v>2035</c:v>
                </c:pt>
                <c:pt idx="111">
                  <c:v>2037</c:v>
                </c:pt>
                <c:pt idx="112">
                  <c:v>2038</c:v>
                </c:pt>
                <c:pt idx="113">
                  <c:v>2038</c:v>
                </c:pt>
                <c:pt idx="114">
                  <c:v>2038</c:v>
                </c:pt>
                <c:pt idx="115">
                  <c:v>2037</c:v>
                </c:pt>
                <c:pt idx="116">
                  <c:v>2035</c:v>
                </c:pt>
                <c:pt idx="117">
                  <c:v>2032</c:v>
                </c:pt>
                <c:pt idx="118">
                  <c:v>2029</c:v>
                </c:pt>
                <c:pt idx="119">
                  <c:v>2024</c:v>
                </c:pt>
                <c:pt idx="120">
                  <c:v>2019</c:v>
                </c:pt>
                <c:pt idx="121">
                  <c:v>2014</c:v>
                </c:pt>
                <c:pt idx="122">
                  <c:v>2007</c:v>
                </c:pt>
                <c:pt idx="123">
                  <c:v>2000</c:v>
                </c:pt>
                <c:pt idx="124">
                  <c:v>1992</c:v>
                </c:pt>
                <c:pt idx="125">
                  <c:v>1983</c:v>
                </c:pt>
                <c:pt idx="126">
                  <c:v>1974</c:v>
                </c:pt>
                <c:pt idx="127">
                  <c:v>1964</c:v>
                </c:pt>
                <c:pt idx="128">
                  <c:v>1954</c:v>
                </c:pt>
                <c:pt idx="129">
                  <c:v>1942</c:v>
                </c:pt>
                <c:pt idx="130">
                  <c:v>1931</c:v>
                </c:pt>
                <c:pt idx="131">
                  <c:v>1918</c:v>
                </c:pt>
                <c:pt idx="132">
                  <c:v>1905</c:v>
                </c:pt>
                <c:pt idx="133">
                  <c:v>1891</c:v>
                </c:pt>
                <c:pt idx="134">
                  <c:v>1877</c:v>
                </c:pt>
                <c:pt idx="135">
                  <c:v>1863</c:v>
                </c:pt>
                <c:pt idx="136">
                  <c:v>1847</c:v>
                </c:pt>
                <c:pt idx="137">
                  <c:v>1832</c:v>
                </c:pt>
                <c:pt idx="138">
                  <c:v>1815</c:v>
                </c:pt>
                <c:pt idx="139">
                  <c:v>1799</c:v>
                </c:pt>
                <c:pt idx="140">
                  <c:v>1782</c:v>
                </c:pt>
                <c:pt idx="141">
                  <c:v>1764</c:v>
                </c:pt>
                <c:pt idx="142">
                  <c:v>1747</c:v>
                </c:pt>
                <c:pt idx="143">
                  <c:v>1728</c:v>
                </c:pt>
                <c:pt idx="144">
                  <c:v>1710</c:v>
                </c:pt>
                <c:pt idx="145">
                  <c:v>1691</c:v>
                </c:pt>
                <c:pt idx="146">
                  <c:v>1672</c:v>
                </c:pt>
                <c:pt idx="147">
                  <c:v>1652</c:v>
                </c:pt>
                <c:pt idx="148">
                  <c:v>1633</c:v>
                </c:pt>
                <c:pt idx="149">
                  <c:v>1613</c:v>
                </c:pt>
                <c:pt idx="150">
                  <c:v>1593</c:v>
                </c:pt>
                <c:pt idx="151">
                  <c:v>1572</c:v>
                </c:pt>
                <c:pt idx="152">
                  <c:v>1552</c:v>
                </c:pt>
                <c:pt idx="153">
                  <c:v>1531</c:v>
                </c:pt>
                <c:pt idx="154">
                  <c:v>1510</c:v>
                </c:pt>
                <c:pt idx="155">
                  <c:v>1489</c:v>
                </c:pt>
                <c:pt idx="156">
                  <c:v>1468</c:v>
                </c:pt>
                <c:pt idx="157">
                  <c:v>1447</c:v>
                </c:pt>
                <c:pt idx="158">
                  <c:v>1426</c:v>
                </c:pt>
                <c:pt idx="159">
                  <c:v>1405</c:v>
                </c:pt>
                <c:pt idx="160">
                  <c:v>1383</c:v>
                </c:pt>
                <c:pt idx="161">
                  <c:v>1362</c:v>
                </c:pt>
                <c:pt idx="162">
                  <c:v>1341</c:v>
                </c:pt>
                <c:pt idx="163">
                  <c:v>1319</c:v>
                </c:pt>
                <c:pt idx="164">
                  <c:v>1298</c:v>
                </c:pt>
                <c:pt idx="165">
                  <c:v>1277</c:v>
                </c:pt>
                <c:pt idx="166">
                  <c:v>1256</c:v>
                </c:pt>
                <c:pt idx="167">
                  <c:v>1235</c:v>
                </c:pt>
                <c:pt idx="168">
                  <c:v>1214</c:v>
                </c:pt>
                <c:pt idx="169">
                  <c:v>1193</c:v>
                </c:pt>
                <c:pt idx="170">
                  <c:v>1172</c:v>
                </c:pt>
                <c:pt idx="171">
                  <c:v>1151</c:v>
                </c:pt>
                <c:pt idx="172">
                  <c:v>1131</c:v>
                </c:pt>
                <c:pt idx="173">
                  <c:v>1110</c:v>
                </c:pt>
                <c:pt idx="174">
                  <c:v>1090</c:v>
                </c:pt>
                <c:pt idx="175">
                  <c:v>1070</c:v>
                </c:pt>
                <c:pt idx="176">
                  <c:v>1050</c:v>
                </c:pt>
                <c:pt idx="177">
                  <c:v>1030</c:v>
                </c:pt>
                <c:pt idx="178">
                  <c:v>1011</c:v>
                </c:pt>
                <c:pt idx="179">
                  <c:v>991</c:v>
                </c:pt>
                <c:pt idx="180">
                  <c:v>972</c:v>
                </c:pt>
                <c:pt idx="181">
                  <c:v>9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729</c:v>
                </c:pt>
                <c:pt idx="89">
                  <c:v>1733</c:v>
                </c:pt>
                <c:pt idx="90">
                  <c:v>1727</c:v>
                </c:pt>
                <c:pt idx="91">
                  <c:v>1715</c:v>
                </c:pt>
                <c:pt idx="92">
                  <c:v>1700</c:v>
                </c:pt>
                <c:pt idx="93">
                  <c:v>1683</c:v>
                </c:pt>
                <c:pt idx="94">
                  <c:v>1664</c:v>
                </c:pt>
                <c:pt idx="95">
                  <c:v>1644</c:v>
                </c:pt>
                <c:pt idx="96">
                  <c:v>1623</c:v>
                </c:pt>
                <c:pt idx="97">
                  <c:v>1601</c:v>
                </c:pt>
                <c:pt idx="98">
                  <c:v>1579</c:v>
                </c:pt>
                <c:pt idx="99">
                  <c:v>1556</c:v>
                </c:pt>
                <c:pt idx="100">
                  <c:v>1533</c:v>
                </c:pt>
                <c:pt idx="101">
                  <c:v>1509</c:v>
                </c:pt>
                <c:pt idx="102">
                  <c:v>1485</c:v>
                </c:pt>
                <c:pt idx="103">
                  <c:v>1461</c:v>
                </c:pt>
                <c:pt idx="104">
                  <c:v>1436</c:v>
                </c:pt>
                <c:pt idx="105">
                  <c:v>1412</c:v>
                </c:pt>
                <c:pt idx="106">
                  <c:v>1387</c:v>
                </c:pt>
                <c:pt idx="107">
                  <c:v>1363</c:v>
                </c:pt>
                <c:pt idx="108">
                  <c:v>1338</c:v>
                </c:pt>
                <c:pt idx="109">
                  <c:v>1314</c:v>
                </c:pt>
                <c:pt idx="110">
                  <c:v>1289</c:v>
                </c:pt>
                <c:pt idx="111">
                  <c:v>1265</c:v>
                </c:pt>
                <c:pt idx="112">
                  <c:v>1241</c:v>
                </c:pt>
                <c:pt idx="113">
                  <c:v>1217</c:v>
                </c:pt>
                <c:pt idx="114">
                  <c:v>1193</c:v>
                </c:pt>
                <c:pt idx="115">
                  <c:v>1170</c:v>
                </c:pt>
                <c:pt idx="116">
                  <c:v>1146</c:v>
                </c:pt>
                <c:pt idx="117">
                  <c:v>1123</c:v>
                </c:pt>
                <c:pt idx="118">
                  <c:v>1100</c:v>
                </c:pt>
                <c:pt idx="119">
                  <c:v>1078</c:v>
                </c:pt>
                <c:pt idx="120">
                  <c:v>1055</c:v>
                </c:pt>
                <c:pt idx="121">
                  <c:v>1033</c:v>
                </c:pt>
                <c:pt idx="122">
                  <c:v>1012</c:v>
                </c:pt>
                <c:pt idx="123">
                  <c:v>990</c:v>
                </c:pt>
                <c:pt idx="124">
                  <c:v>969</c:v>
                </c:pt>
                <c:pt idx="125">
                  <c:v>948</c:v>
                </c:pt>
                <c:pt idx="126">
                  <c:v>928</c:v>
                </c:pt>
                <c:pt idx="127">
                  <c:v>908</c:v>
                </c:pt>
                <c:pt idx="128">
                  <c:v>888</c:v>
                </c:pt>
                <c:pt idx="129">
                  <c:v>868</c:v>
                </c:pt>
                <c:pt idx="130">
                  <c:v>849</c:v>
                </c:pt>
                <c:pt idx="131">
                  <c:v>830</c:v>
                </c:pt>
                <c:pt idx="132">
                  <c:v>811</c:v>
                </c:pt>
                <c:pt idx="133">
                  <c:v>793</c:v>
                </c:pt>
                <c:pt idx="134">
                  <c:v>775</c:v>
                </c:pt>
                <c:pt idx="135">
                  <c:v>757</c:v>
                </c:pt>
                <c:pt idx="136">
                  <c:v>740</c:v>
                </c:pt>
                <c:pt idx="137">
                  <c:v>723</c:v>
                </c:pt>
                <c:pt idx="138">
                  <c:v>706</c:v>
                </c:pt>
                <c:pt idx="139">
                  <c:v>690</c:v>
                </c:pt>
                <c:pt idx="140">
                  <c:v>674</c:v>
                </c:pt>
                <c:pt idx="141">
                  <c:v>658</c:v>
                </c:pt>
                <c:pt idx="142">
                  <c:v>642</c:v>
                </c:pt>
                <c:pt idx="143">
                  <c:v>627</c:v>
                </c:pt>
                <c:pt idx="144">
                  <c:v>612</c:v>
                </c:pt>
                <c:pt idx="145">
                  <c:v>598</c:v>
                </c:pt>
                <c:pt idx="146">
                  <c:v>584</c:v>
                </c:pt>
                <c:pt idx="147">
                  <c:v>570</c:v>
                </c:pt>
                <c:pt idx="148">
                  <c:v>556</c:v>
                </c:pt>
                <c:pt idx="149">
                  <c:v>542</c:v>
                </c:pt>
                <c:pt idx="150">
                  <c:v>529</c:v>
                </c:pt>
                <c:pt idx="151">
                  <c:v>517</c:v>
                </c:pt>
                <c:pt idx="152">
                  <c:v>504</c:v>
                </c:pt>
                <c:pt idx="153">
                  <c:v>492</c:v>
                </c:pt>
                <c:pt idx="154">
                  <c:v>480</c:v>
                </c:pt>
                <c:pt idx="155">
                  <c:v>468</c:v>
                </c:pt>
                <c:pt idx="156">
                  <c:v>456</c:v>
                </c:pt>
                <c:pt idx="157">
                  <c:v>445</c:v>
                </c:pt>
                <c:pt idx="158">
                  <c:v>434</c:v>
                </c:pt>
                <c:pt idx="159">
                  <c:v>423</c:v>
                </c:pt>
                <c:pt idx="160">
                  <c:v>413</c:v>
                </c:pt>
                <c:pt idx="161">
                  <c:v>402</c:v>
                </c:pt>
                <c:pt idx="162">
                  <c:v>392</c:v>
                </c:pt>
                <c:pt idx="163">
                  <c:v>383</c:v>
                </c:pt>
                <c:pt idx="164">
                  <c:v>373</c:v>
                </c:pt>
                <c:pt idx="165">
                  <c:v>364</c:v>
                </c:pt>
                <c:pt idx="166">
                  <c:v>354</c:v>
                </c:pt>
                <c:pt idx="167">
                  <c:v>346</c:v>
                </c:pt>
                <c:pt idx="168">
                  <c:v>337</c:v>
                </c:pt>
                <c:pt idx="169">
                  <c:v>328</c:v>
                </c:pt>
                <c:pt idx="170">
                  <c:v>320</c:v>
                </c:pt>
                <c:pt idx="171">
                  <c:v>312</c:v>
                </c:pt>
                <c:pt idx="172">
                  <c:v>304</c:v>
                </c:pt>
                <c:pt idx="173">
                  <c:v>296</c:v>
                </c:pt>
                <c:pt idx="174">
                  <c:v>289</c:v>
                </c:pt>
                <c:pt idx="175">
                  <c:v>281</c:v>
                </c:pt>
                <c:pt idx="176">
                  <c:v>274</c:v>
                </c:pt>
                <c:pt idx="177">
                  <c:v>267</c:v>
                </c:pt>
                <c:pt idx="178">
                  <c:v>260</c:v>
                </c:pt>
                <c:pt idx="179">
                  <c:v>253</c:v>
                </c:pt>
                <c:pt idx="180">
                  <c:v>247</c:v>
                </c:pt>
                <c:pt idx="181">
                  <c:v>2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31</c:v>
                </c:pt>
                <c:pt idx="1">
                  <c:v>306</c:v>
                </c:pt>
                <c:pt idx="2">
                  <c:v>210</c:v>
                </c:pt>
                <c:pt idx="3">
                  <c:v>301</c:v>
                </c:pt>
                <c:pt idx="4">
                  <c:v>275</c:v>
                </c:pt>
                <c:pt idx="5">
                  <c:v>97</c:v>
                </c:pt>
                <c:pt idx="6">
                  <c:v>277</c:v>
                </c:pt>
                <c:pt idx="7">
                  <c:v>431</c:v>
                </c:pt>
                <c:pt idx="8">
                  <c:v>381</c:v>
                </c:pt>
                <c:pt idx="9">
                  <c:v>376</c:v>
                </c:pt>
                <c:pt idx="10">
                  <c:v>481</c:v>
                </c:pt>
                <c:pt idx="11">
                  <c:v>278</c:v>
                </c:pt>
                <c:pt idx="12">
                  <c:v>224</c:v>
                </c:pt>
                <c:pt idx="13">
                  <c:v>283</c:v>
                </c:pt>
                <c:pt idx="14">
                  <c:v>650</c:v>
                </c:pt>
                <c:pt idx="15">
                  <c:v>573</c:v>
                </c:pt>
                <c:pt idx="16">
                  <c:v>464</c:v>
                </c:pt>
                <c:pt idx="17">
                  <c:v>550</c:v>
                </c:pt>
                <c:pt idx="18">
                  <c:v>382</c:v>
                </c:pt>
                <c:pt idx="19">
                  <c:v>302</c:v>
                </c:pt>
                <c:pt idx="20">
                  <c:v>433</c:v>
                </c:pt>
                <c:pt idx="21">
                  <c:v>714</c:v>
                </c:pt>
                <c:pt idx="22">
                  <c:v>880</c:v>
                </c:pt>
                <c:pt idx="23">
                  <c:v>251</c:v>
                </c:pt>
                <c:pt idx="24">
                  <c:v>259</c:v>
                </c:pt>
                <c:pt idx="25">
                  <c:v>301</c:v>
                </c:pt>
                <c:pt idx="26">
                  <c:v>255</c:v>
                </c:pt>
                <c:pt idx="27">
                  <c:v>502</c:v>
                </c:pt>
                <c:pt idx="28">
                  <c:v>1047</c:v>
                </c:pt>
                <c:pt idx="29">
                  <c:v>1082</c:v>
                </c:pt>
                <c:pt idx="30">
                  <c:v>850</c:v>
                </c:pt>
                <c:pt idx="31">
                  <c:v>288</c:v>
                </c:pt>
                <c:pt idx="32">
                  <c:v>384</c:v>
                </c:pt>
                <c:pt idx="33">
                  <c:v>349</c:v>
                </c:pt>
                <c:pt idx="34">
                  <c:v>743</c:v>
                </c:pt>
                <c:pt idx="35">
                  <c:v>1259</c:v>
                </c:pt>
                <c:pt idx="36">
                  <c:v>933</c:v>
                </c:pt>
                <c:pt idx="37">
                  <c:v>1028</c:v>
                </c:pt>
                <c:pt idx="38">
                  <c:v>824</c:v>
                </c:pt>
                <c:pt idx="39">
                  <c:v>453</c:v>
                </c:pt>
                <c:pt idx="40">
                  <c:v>329</c:v>
                </c:pt>
                <c:pt idx="41">
                  <c:v>496</c:v>
                </c:pt>
                <c:pt idx="42">
                  <c:v>731</c:v>
                </c:pt>
                <c:pt idx="43">
                  <c:v>594</c:v>
                </c:pt>
                <c:pt idx="44">
                  <c:v>390</c:v>
                </c:pt>
                <c:pt idx="45">
                  <c:v>484</c:v>
                </c:pt>
                <c:pt idx="46">
                  <c:v>313</c:v>
                </c:pt>
                <c:pt idx="47">
                  <c:v>130</c:v>
                </c:pt>
                <c:pt idx="48">
                  <c:v>280</c:v>
                </c:pt>
                <c:pt idx="49">
                  <c:v>502</c:v>
                </c:pt>
                <c:pt idx="50">
                  <c:v>461</c:v>
                </c:pt>
                <c:pt idx="51">
                  <c:v>220</c:v>
                </c:pt>
                <c:pt idx="52">
                  <c:v>444</c:v>
                </c:pt>
                <c:pt idx="53">
                  <c:v>226</c:v>
                </c:pt>
                <c:pt idx="54">
                  <c:v>130</c:v>
                </c:pt>
                <c:pt idx="55">
                  <c:v>299</c:v>
                </c:pt>
                <c:pt idx="56">
                  <c:v>390</c:v>
                </c:pt>
                <c:pt idx="57">
                  <c:v>331</c:v>
                </c:pt>
                <c:pt idx="58">
                  <c:v>216</c:v>
                </c:pt>
                <c:pt idx="59">
                  <c:v>265</c:v>
                </c:pt>
                <c:pt idx="60">
                  <c:v>207</c:v>
                </c:pt>
                <c:pt idx="61">
                  <c:v>86</c:v>
                </c:pt>
                <c:pt idx="62">
                  <c:v>241</c:v>
                </c:pt>
                <c:pt idx="63">
                  <c:v>275</c:v>
                </c:pt>
                <c:pt idx="64">
                  <c:v>250</c:v>
                </c:pt>
                <c:pt idx="65">
                  <c:v>295</c:v>
                </c:pt>
                <c:pt idx="66">
                  <c:v>230</c:v>
                </c:pt>
                <c:pt idx="67">
                  <c:v>177</c:v>
                </c:pt>
                <c:pt idx="68">
                  <c:v>61</c:v>
                </c:pt>
                <c:pt idx="69">
                  <c:v>140</c:v>
                </c:pt>
                <c:pt idx="70">
                  <c:v>274</c:v>
                </c:pt>
                <c:pt idx="71">
                  <c:v>246</c:v>
                </c:pt>
                <c:pt idx="72">
                  <c:v>187</c:v>
                </c:pt>
                <c:pt idx="73">
                  <c:v>227</c:v>
                </c:pt>
                <c:pt idx="74">
                  <c:v>133</c:v>
                </c:pt>
                <c:pt idx="75">
                  <c:v>72</c:v>
                </c:pt>
                <c:pt idx="76">
                  <c:v>215</c:v>
                </c:pt>
                <c:pt idx="77">
                  <c:v>300</c:v>
                </c:pt>
                <c:pt idx="78">
                  <c:v>240</c:v>
                </c:pt>
                <c:pt idx="79">
                  <c:v>314</c:v>
                </c:pt>
                <c:pt idx="80">
                  <c:v>272</c:v>
                </c:pt>
                <c:pt idx="81">
                  <c:v>223</c:v>
                </c:pt>
                <c:pt idx="82">
                  <c:v>127</c:v>
                </c:pt>
                <c:pt idx="83">
                  <c:v>250</c:v>
                </c:pt>
                <c:pt idx="84">
                  <c:v>429</c:v>
                </c:pt>
                <c:pt idx="85">
                  <c:v>403</c:v>
                </c:pt>
                <c:pt idx="86">
                  <c:v>374</c:v>
                </c:pt>
                <c:pt idx="87">
                  <c:v>370</c:v>
                </c:pt>
                <c:pt idx="88">
                  <c:v>328</c:v>
                </c:pt>
                <c:pt idx="89">
                  <c:v>106</c:v>
                </c:pt>
                <c:pt idx="90">
                  <c:v>320</c:v>
                </c:pt>
                <c:pt idx="91">
                  <c:v>464</c:v>
                </c:pt>
                <c:pt idx="92">
                  <c:v>472</c:v>
                </c:pt>
                <c:pt idx="93">
                  <c:v>380</c:v>
                </c:pt>
                <c:pt idx="94">
                  <c:v>308</c:v>
                </c:pt>
                <c:pt idx="95">
                  <c:v>409</c:v>
                </c:pt>
                <c:pt idx="96">
                  <c:v>166</c:v>
                </c:pt>
                <c:pt idx="97">
                  <c:v>302</c:v>
                </c:pt>
                <c:pt idx="98">
                  <c:v>455</c:v>
                </c:pt>
                <c:pt idx="99">
                  <c:v>497</c:v>
                </c:pt>
                <c:pt idx="100">
                  <c:v>361</c:v>
                </c:pt>
                <c:pt idx="101">
                  <c:v>548</c:v>
                </c:pt>
                <c:pt idx="102">
                  <c:v>380</c:v>
                </c:pt>
                <c:pt idx="103">
                  <c:v>105</c:v>
                </c:pt>
                <c:pt idx="104">
                  <c:v>308</c:v>
                </c:pt>
                <c:pt idx="105">
                  <c:v>545</c:v>
                </c:pt>
                <c:pt idx="106">
                  <c:v>466</c:v>
                </c:pt>
                <c:pt idx="107">
                  <c:v>394</c:v>
                </c:pt>
                <c:pt idx="108">
                  <c:v>331</c:v>
                </c:pt>
                <c:pt idx="109">
                  <c:v>280</c:v>
                </c:pt>
                <c:pt idx="110">
                  <c:v>122</c:v>
                </c:pt>
                <c:pt idx="111">
                  <c:v>236</c:v>
                </c:pt>
                <c:pt idx="112">
                  <c:v>510</c:v>
                </c:pt>
                <c:pt idx="113">
                  <c:v>428</c:v>
                </c:pt>
                <c:pt idx="114">
                  <c:v>371</c:v>
                </c:pt>
                <c:pt idx="115">
                  <c:v>342</c:v>
                </c:pt>
                <c:pt idx="116">
                  <c:v>299</c:v>
                </c:pt>
                <c:pt idx="117">
                  <c:v>138</c:v>
                </c:pt>
                <c:pt idx="118">
                  <c:v>267</c:v>
                </c:pt>
                <c:pt idx="119">
                  <c:v>543</c:v>
                </c:pt>
                <c:pt idx="120">
                  <c:v>395</c:v>
                </c:pt>
                <c:pt idx="121">
                  <c:v>502</c:v>
                </c:pt>
                <c:pt idx="122">
                  <c:v>257</c:v>
                </c:pt>
                <c:pt idx="123">
                  <c:v>176</c:v>
                </c:pt>
                <c:pt idx="124">
                  <c:v>151</c:v>
                </c:pt>
                <c:pt idx="125">
                  <c:v>103</c:v>
                </c:pt>
                <c:pt idx="126">
                  <c:v>178</c:v>
                </c:pt>
                <c:pt idx="127">
                  <c:v>502</c:v>
                </c:pt>
                <c:pt idx="128">
                  <c:v>400</c:v>
                </c:pt>
                <c:pt idx="129">
                  <c:v>303</c:v>
                </c:pt>
                <c:pt idx="130">
                  <c:v>235</c:v>
                </c:pt>
                <c:pt idx="131">
                  <c:v>87</c:v>
                </c:pt>
                <c:pt idx="132">
                  <c:v>188</c:v>
                </c:pt>
                <c:pt idx="133">
                  <c:v>399</c:v>
                </c:pt>
                <c:pt idx="134">
                  <c:v>270</c:v>
                </c:pt>
                <c:pt idx="135">
                  <c:v>263</c:v>
                </c:pt>
                <c:pt idx="136">
                  <c:v>255</c:v>
                </c:pt>
                <c:pt idx="137">
                  <c:v>191</c:v>
                </c:pt>
                <c:pt idx="138">
                  <c:v>108</c:v>
                </c:pt>
                <c:pt idx="139">
                  <c:v>210</c:v>
                </c:pt>
                <c:pt idx="140">
                  <c:v>276</c:v>
                </c:pt>
                <c:pt idx="141">
                  <c:v>343</c:v>
                </c:pt>
                <c:pt idx="142">
                  <c:v>250</c:v>
                </c:pt>
                <c:pt idx="143">
                  <c:v>226</c:v>
                </c:pt>
                <c:pt idx="144">
                  <c:v>145</c:v>
                </c:pt>
                <c:pt idx="145">
                  <c:v>93</c:v>
                </c:pt>
                <c:pt idx="146">
                  <c:v>168</c:v>
                </c:pt>
                <c:pt idx="147">
                  <c:v>244</c:v>
                </c:pt>
                <c:pt idx="148">
                  <c:v>231</c:v>
                </c:pt>
                <c:pt idx="149">
                  <c:v>196</c:v>
                </c:pt>
                <c:pt idx="150">
                  <c:v>149</c:v>
                </c:pt>
                <c:pt idx="151">
                  <c:v>175</c:v>
                </c:pt>
                <c:pt idx="152">
                  <c:v>11</c:v>
                </c:pt>
                <c:pt idx="153">
                  <c:v>159</c:v>
                </c:pt>
                <c:pt idx="154">
                  <c:v>194</c:v>
                </c:pt>
                <c:pt idx="155">
                  <c:v>166</c:v>
                </c:pt>
                <c:pt idx="156">
                  <c:v>133</c:v>
                </c:pt>
                <c:pt idx="157">
                  <c:v>94</c:v>
                </c:pt>
                <c:pt idx="158">
                  <c:v>104</c:v>
                </c:pt>
                <c:pt idx="159">
                  <c:v>20</c:v>
                </c:pt>
                <c:pt idx="160">
                  <c:v>100</c:v>
                </c:pt>
                <c:pt idx="161">
                  <c:v>148</c:v>
                </c:pt>
                <c:pt idx="162">
                  <c:v>103</c:v>
                </c:pt>
                <c:pt idx="163">
                  <c:v>119</c:v>
                </c:pt>
                <c:pt idx="164">
                  <c:v>68</c:v>
                </c:pt>
                <c:pt idx="165">
                  <c:v>67</c:v>
                </c:pt>
                <c:pt idx="166">
                  <c:v>6</c:v>
                </c:pt>
                <c:pt idx="167">
                  <c:v>85</c:v>
                </c:pt>
                <c:pt idx="168">
                  <c:v>74</c:v>
                </c:pt>
                <c:pt idx="169">
                  <c:v>51</c:v>
                </c:pt>
                <c:pt idx="170">
                  <c:v>87</c:v>
                </c:pt>
                <c:pt idx="171">
                  <c:v>51</c:v>
                </c:pt>
                <c:pt idx="172">
                  <c:v>48</c:v>
                </c:pt>
                <c:pt idx="173">
                  <c:v>5</c:v>
                </c:pt>
                <c:pt idx="174">
                  <c:v>64</c:v>
                </c:pt>
                <c:pt idx="175">
                  <c:v>66</c:v>
                </c:pt>
                <c:pt idx="176">
                  <c:v>29</c:v>
                </c:pt>
                <c:pt idx="177">
                  <c:v>42</c:v>
                </c:pt>
                <c:pt idx="178">
                  <c:v>47</c:v>
                </c:pt>
                <c:pt idx="179">
                  <c:v>30</c:v>
                </c:pt>
                <c:pt idx="18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12-4E11-88C8-2CA3A50F06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12-4E11-88C8-2CA3A50F0601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388</c:v>
                </c:pt>
                <c:pt idx="89">
                  <c:v>395</c:v>
                </c:pt>
                <c:pt idx="90">
                  <c:v>401</c:v>
                </c:pt>
                <c:pt idx="91">
                  <c:v>406</c:v>
                </c:pt>
                <c:pt idx="92">
                  <c:v>410</c:v>
                </c:pt>
                <c:pt idx="93">
                  <c:v>415</c:v>
                </c:pt>
                <c:pt idx="94">
                  <c:v>419</c:v>
                </c:pt>
                <c:pt idx="95">
                  <c:v>422</c:v>
                </c:pt>
                <c:pt idx="96">
                  <c:v>426</c:v>
                </c:pt>
                <c:pt idx="97">
                  <c:v>429</c:v>
                </c:pt>
                <c:pt idx="98">
                  <c:v>432</c:v>
                </c:pt>
                <c:pt idx="99">
                  <c:v>435</c:v>
                </c:pt>
                <c:pt idx="100">
                  <c:v>437</c:v>
                </c:pt>
                <c:pt idx="101">
                  <c:v>440</c:v>
                </c:pt>
                <c:pt idx="102">
                  <c:v>442</c:v>
                </c:pt>
                <c:pt idx="103">
                  <c:v>444</c:v>
                </c:pt>
                <c:pt idx="104">
                  <c:v>446</c:v>
                </c:pt>
                <c:pt idx="105">
                  <c:v>447</c:v>
                </c:pt>
                <c:pt idx="106">
                  <c:v>449</c:v>
                </c:pt>
                <c:pt idx="107">
                  <c:v>450</c:v>
                </c:pt>
                <c:pt idx="108">
                  <c:v>451</c:v>
                </c:pt>
                <c:pt idx="109">
                  <c:v>452</c:v>
                </c:pt>
                <c:pt idx="110">
                  <c:v>452</c:v>
                </c:pt>
                <c:pt idx="111">
                  <c:v>453</c:v>
                </c:pt>
                <c:pt idx="112">
                  <c:v>453</c:v>
                </c:pt>
                <c:pt idx="113">
                  <c:v>453</c:v>
                </c:pt>
                <c:pt idx="114">
                  <c:v>453</c:v>
                </c:pt>
                <c:pt idx="115">
                  <c:v>453</c:v>
                </c:pt>
                <c:pt idx="116">
                  <c:v>452</c:v>
                </c:pt>
                <c:pt idx="117">
                  <c:v>452</c:v>
                </c:pt>
                <c:pt idx="118">
                  <c:v>451</c:v>
                </c:pt>
                <c:pt idx="119">
                  <c:v>450</c:v>
                </c:pt>
                <c:pt idx="120">
                  <c:v>449</c:v>
                </c:pt>
                <c:pt idx="121">
                  <c:v>448</c:v>
                </c:pt>
                <c:pt idx="122">
                  <c:v>446</c:v>
                </c:pt>
                <c:pt idx="123">
                  <c:v>444</c:v>
                </c:pt>
                <c:pt idx="124">
                  <c:v>443</c:v>
                </c:pt>
                <c:pt idx="125">
                  <c:v>441</c:v>
                </c:pt>
                <c:pt idx="126">
                  <c:v>439</c:v>
                </c:pt>
                <c:pt idx="127">
                  <c:v>437</c:v>
                </c:pt>
                <c:pt idx="128">
                  <c:v>434</c:v>
                </c:pt>
                <c:pt idx="129">
                  <c:v>432</c:v>
                </c:pt>
                <c:pt idx="130">
                  <c:v>429</c:v>
                </c:pt>
                <c:pt idx="131">
                  <c:v>426</c:v>
                </c:pt>
                <c:pt idx="132">
                  <c:v>423</c:v>
                </c:pt>
                <c:pt idx="133">
                  <c:v>420</c:v>
                </c:pt>
                <c:pt idx="134">
                  <c:v>417</c:v>
                </c:pt>
                <c:pt idx="135">
                  <c:v>414</c:v>
                </c:pt>
                <c:pt idx="136">
                  <c:v>411</c:v>
                </c:pt>
                <c:pt idx="137">
                  <c:v>407</c:v>
                </c:pt>
                <c:pt idx="138">
                  <c:v>403</c:v>
                </c:pt>
                <c:pt idx="139">
                  <c:v>400</c:v>
                </c:pt>
                <c:pt idx="140">
                  <c:v>396</c:v>
                </c:pt>
                <c:pt idx="141">
                  <c:v>392</c:v>
                </c:pt>
                <c:pt idx="142">
                  <c:v>388</c:v>
                </c:pt>
                <c:pt idx="143">
                  <c:v>384</c:v>
                </c:pt>
                <c:pt idx="144">
                  <c:v>380</c:v>
                </c:pt>
                <c:pt idx="145">
                  <c:v>376</c:v>
                </c:pt>
                <c:pt idx="146">
                  <c:v>372</c:v>
                </c:pt>
                <c:pt idx="147">
                  <c:v>367</c:v>
                </c:pt>
                <c:pt idx="148">
                  <c:v>363</c:v>
                </c:pt>
                <c:pt idx="149">
                  <c:v>358</c:v>
                </c:pt>
                <c:pt idx="150">
                  <c:v>354</c:v>
                </c:pt>
                <c:pt idx="151">
                  <c:v>349</c:v>
                </c:pt>
                <c:pt idx="152">
                  <c:v>345</c:v>
                </c:pt>
                <c:pt idx="153">
                  <c:v>340</c:v>
                </c:pt>
                <c:pt idx="154">
                  <c:v>336</c:v>
                </c:pt>
                <c:pt idx="155">
                  <c:v>331</c:v>
                </c:pt>
                <c:pt idx="156">
                  <c:v>326</c:v>
                </c:pt>
                <c:pt idx="157">
                  <c:v>322</c:v>
                </c:pt>
                <c:pt idx="158">
                  <c:v>317</c:v>
                </c:pt>
                <c:pt idx="159">
                  <c:v>312</c:v>
                </c:pt>
                <c:pt idx="160">
                  <c:v>307</c:v>
                </c:pt>
                <c:pt idx="161">
                  <c:v>303</c:v>
                </c:pt>
                <c:pt idx="162">
                  <c:v>298</c:v>
                </c:pt>
                <c:pt idx="163">
                  <c:v>293</c:v>
                </c:pt>
                <c:pt idx="164">
                  <c:v>288</c:v>
                </c:pt>
                <c:pt idx="165">
                  <c:v>284</c:v>
                </c:pt>
                <c:pt idx="166">
                  <c:v>279</c:v>
                </c:pt>
                <c:pt idx="167">
                  <c:v>274</c:v>
                </c:pt>
                <c:pt idx="168">
                  <c:v>270</c:v>
                </c:pt>
                <c:pt idx="169">
                  <c:v>265</c:v>
                </c:pt>
                <c:pt idx="170">
                  <c:v>260</c:v>
                </c:pt>
                <c:pt idx="171">
                  <c:v>256</c:v>
                </c:pt>
                <c:pt idx="172">
                  <c:v>251</c:v>
                </c:pt>
                <c:pt idx="173">
                  <c:v>247</c:v>
                </c:pt>
                <c:pt idx="174">
                  <c:v>242</c:v>
                </c:pt>
                <c:pt idx="175">
                  <c:v>238</c:v>
                </c:pt>
                <c:pt idx="176">
                  <c:v>233</c:v>
                </c:pt>
                <c:pt idx="177">
                  <c:v>229</c:v>
                </c:pt>
                <c:pt idx="178">
                  <c:v>225</c:v>
                </c:pt>
                <c:pt idx="179">
                  <c:v>220</c:v>
                </c:pt>
                <c:pt idx="180">
                  <c:v>216</c:v>
                </c:pt>
                <c:pt idx="181">
                  <c:v>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12-4E11-88C8-2CA3A50F0601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384</c:v>
                </c:pt>
                <c:pt idx="89">
                  <c:v>385</c:v>
                </c:pt>
                <c:pt idx="90">
                  <c:v>384</c:v>
                </c:pt>
                <c:pt idx="91">
                  <c:v>381</c:v>
                </c:pt>
                <c:pt idx="92">
                  <c:v>378</c:v>
                </c:pt>
                <c:pt idx="93">
                  <c:v>374</c:v>
                </c:pt>
                <c:pt idx="94">
                  <c:v>370</c:v>
                </c:pt>
                <c:pt idx="95">
                  <c:v>365</c:v>
                </c:pt>
                <c:pt idx="96">
                  <c:v>361</c:v>
                </c:pt>
                <c:pt idx="97">
                  <c:v>356</c:v>
                </c:pt>
                <c:pt idx="98">
                  <c:v>351</c:v>
                </c:pt>
                <c:pt idx="99">
                  <c:v>346</c:v>
                </c:pt>
                <c:pt idx="100">
                  <c:v>341</c:v>
                </c:pt>
                <c:pt idx="101">
                  <c:v>335</c:v>
                </c:pt>
                <c:pt idx="102">
                  <c:v>330</c:v>
                </c:pt>
                <c:pt idx="103">
                  <c:v>325</c:v>
                </c:pt>
                <c:pt idx="104">
                  <c:v>319</c:v>
                </c:pt>
                <c:pt idx="105">
                  <c:v>314</c:v>
                </c:pt>
                <c:pt idx="106">
                  <c:v>308</c:v>
                </c:pt>
                <c:pt idx="107">
                  <c:v>303</c:v>
                </c:pt>
                <c:pt idx="108">
                  <c:v>297</c:v>
                </c:pt>
                <c:pt idx="109">
                  <c:v>292</c:v>
                </c:pt>
                <c:pt idx="110">
                  <c:v>286</c:v>
                </c:pt>
                <c:pt idx="111">
                  <c:v>281</c:v>
                </c:pt>
                <c:pt idx="112">
                  <c:v>276</c:v>
                </c:pt>
                <c:pt idx="113">
                  <c:v>270</c:v>
                </c:pt>
                <c:pt idx="114">
                  <c:v>265</c:v>
                </c:pt>
                <c:pt idx="115">
                  <c:v>260</c:v>
                </c:pt>
                <c:pt idx="116">
                  <c:v>255</c:v>
                </c:pt>
                <c:pt idx="117">
                  <c:v>250</c:v>
                </c:pt>
                <c:pt idx="118">
                  <c:v>245</c:v>
                </c:pt>
                <c:pt idx="119">
                  <c:v>240</c:v>
                </c:pt>
                <c:pt idx="120">
                  <c:v>235</c:v>
                </c:pt>
                <c:pt idx="121">
                  <c:v>230</c:v>
                </c:pt>
                <c:pt idx="122">
                  <c:v>225</c:v>
                </c:pt>
                <c:pt idx="123">
                  <c:v>220</c:v>
                </c:pt>
                <c:pt idx="124">
                  <c:v>215</c:v>
                </c:pt>
                <c:pt idx="125">
                  <c:v>211</c:v>
                </c:pt>
                <c:pt idx="126">
                  <c:v>206</c:v>
                </c:pt>
                <c:pt idx="127">
                  <c:v>202</c:v>
                </c:pt>
                <c:pt idx="128">
                  <c:v>197</c:v>
                </c:pt>
                <c:pt idx="129">
                  <c:v>193</c:v>
                </c:pt>
                <c:pt idx="130">
                  <c:v>189</c:v>
                </c:pt>
                <c:pt idx="131">
                  <c:v>184</c:v>
                </c:pt>
                <c:pt idx="132">
                  <c:v>180</c:v>
                </c:pt>
                <c:pt idx="133">
                  <c:v>176</c:v>
                </c:pt>
                <c:pt idx="134">
                  <c:v>172</c:v>
                </c:pt>
                <c:pt idx="135">
                  <c:v>168</c:v>
                </c:pt>
                <c:pt idx="136">
                  <c:v>164</c:v>
                </c:pt>
                <c:pt idx="137">
                  <c:v>161</c:v>
                </c:pt>
                <c:pt idx="138">
                  <c:v>157</c:v>
                </c:pt>
                <c:pt idx="139">
                  <c:v>153</c:v>
                </c:pt>
                <c:pt idx="140">
                  <c:v>150</c:v>
                </c:pt>
                <c:pt idx="141">
                  <c:v>146</c:v>
                </c:pt>
                <c:pt idx="142">
                  <c:v>143</c:v>
                </c:pt>
                <c:pt idx="143">
                  <c:v>139</c:v>
                </c:pt>
                <c:pt idx="144">
                  <c:v>136</c:v>
                </c:pt>
                <c:pt idx="145">
                  <c:v>133</c:v>
                </c:pt>
                <c:pt idx="146">
                  <c:v>130</c:v>
                </c:pt>
                <c:pt idx="147">
                  <c:v>127</c:v>
                </c:pt>
                <c:pt idx="148">
                  <c:v>124</c:v>
                </c:pt>
                <c:pt idx="149">
                  <c:v>121</c:v>
                </c:pt>
                <c:pt idx="150">
                  <c:v>118</c:v>
                </c:pt>
                <c:pt idx="151">
                  <c:v>115</c:v>
                </c:pt>
                <c:pt idx="152">
                  <c:v>112</c:v>
                </c:pt>
                <c:pt idx="153">
                  <c:v>109</c:v>
                </c:pt>
                <c:pt idx="154">
                  <c:v>107</c:v>
                </c:pt>
                <c:pt idx="155">
                  <c:v>104</c:v>
                </c:pt>
                <c:pt idx="156">
                  <c:v>101</c:v>
                </c:pt>
                <c:pt idx="157">
                  <c:v>99</c:v>
                </c:pt>
                <c:pt idx="158">
                  <c:v>96</c:v>
                </c:pt>
                <c:pt idx="159">
                  <c:v>94</c:v>
                </c:pt>
                <c:pt idx="160">
                  <c:v>92</c:v>
                </c:pt>
                <c:pt idx="161">
                  <c:v>89</c:v>
                </c:pt>
                <c:pt idx="162">
                  <c:v>87</c:v>
                </c:pt>
                <c:pt idx="163">
                  <c:v>85</c:v>
                </c:pt>
                <c:pt idx="164">
                  <c:v>83</c:v>
                </c:pt>
                <c:pt idx="165">
                  <c:v>81</c:v>
                </c:pt>
                <c:pt idx="166">
                  <c:v>79</c:v>
                </c:pt>
                <c:pt idx="167">
                  <c:v>77</c:v>
                </c:pt>
                <c:pt idx="168">
                  <c:v>75</c:v>
                </c:pt>
                <c:pt idx="169">
                  <c:v>73</c:v>
                </c:pt>
                <c:pt idx="170">
                  <c:v>71</c:v>
                </c:pt>
                <c:pt idx="171">
                  <c:v>69</c:v>
                </c:pt>
                <c:pt idx="172">
                  <c:v>68</c:v>
                </c:pt>
                <c:pt idx="173">
                  <c:v>66</c:v>
                </c:pt>
                <c:pt idx="174">
                  <c:v>64</c:v>
                </c:pt>
                <c:pt idx="175">
                  <c:v>62</c:v>
                </c:pt>
                <c:pt idx="176">
                  <c:v>61</c:v>
                </c:pt>
                <c:pt idx="177">
                  <c:v>59</c:v>
                </c:pt>
                <c:pt idx="178">
                  <c:v>58</c:v>
                </c:pt>
                <c:pt idx="179">
                  <c:v>56</c:v>
                </c:pt>
                <c:pt idx="180">
                  <c:v>55</c:v>
                </c:pt>
                <c:pt idx="181">
                  <c:v>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D12-4E11-88C8-2CA3A50F06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331</c:v>
                </c:pt>
                <c:pt idx="1">
                  <c:v>306</c:v>
                </c:pt>
                <c:pt idx="2">
                  <c:v>210</c:v>
                </c:pt>
                <c:pt idx="3">
                  <c:v>301</c:v>
                </c:pt>
                <c:pt idx="4">
                  <c:v>275</c:v>
                </c:pt>
                <c:pt idx="5">
                  <c:v>97</c:v>
                </c:pt>
                <c:pt idx="6">
                  <c:v>277</c:v>
                </c:pt>
                <c:pt idx="7">
                  <c:v>431</c:v>
                </c:pt>
                <c:pt idx="8">
                  <c:v>381</c:v>
                </c:pt>
                <c:pt idx="9">
                  <c:v>376</c:v>
                </c:pt>
                <c:pt idx="10">
                  <c:v>481</c:v>
                </c:pt>
                <c:pt idx="11">
                  <c:v>278</c:v>
                </c:pt>
                <c:pt idx="12">
                  <c:v>224</c:v>
                </c:pt>
                <c:pt idx="13">
                  <c:v>283</c:v>
                </c:pt>
                <c:pt idx="14">
                  <c:v>650</c:v>
                </c:pt>
                <c:pt idx="15">
                  <c:v>573</c:v>
                </c:pt>
                <c:pt idx="16">
                  <c:v>464</c:v>
                </c:pt>
                <c:pt idx="17">
                  <c:v>550</c:v>
                </c:pt>
                <c:pt idx="18">
                  <c:v>382</c:v>
                </c:pt>
                <c:pt idx="19">
                  <c:v>302</c:v>
                </c:pt>
                <c:pt idx="20">
                  <c:v>433</c:v>
                </c:pt>
                <c:pt idx="21">
                  <c:v>714</c:v>
                </c:pt>
                <c:pt idx="22">
                  <c:v>880</c:v>
                </c:pt>
                <c:pt idx="23">
                  <c:v>251</c:v>
                </c:pt>
                <c:pt idx="24">
                  <c:v>259</c:v>
                </c:pt>
                <c:pt idx="25">
                  <c:v>301</c:v>
                </c:pt>
                <c:pt idx="26">
                  <c:v>255</c:v>
                </c:pt>
                <c:pt idx="27">
                  <c:v>502</c:v>
                </c:pt>
                <c:pt idx="28">
                  <c:v>1047</c:v>
                </c:pt>
                <c:pt idx="29">
                  <c:v>1082</c:v>
                </c:pt>
                <c:pt idx="30">
                  <c:v>850</c:v>
                </c:pt>
                <c:pt idx="31">
                  <c:v>288</c:v>
                </c:pt>
                <c:pt idx="32">
                  <c:v>384</c:v>
                </c:pt>
                <c:pt idx="33">
                  <c:v>349</c:v>
                </c:pt>
                <c:pt idx="34">
                  <c:v>743</c:v>
                </c:pt>
                <c:pt idx="35">
                  <c:v>1259</c:v>
                </c:pt>
                <c:pt idx="36">
                  <c:v>933</c:v>
                </c:pt>
                <c:pt idx="37">
                  <c:v>1028</c:v>
                </c:pt>
                <c:pt idx="38">
                  <c:v>824</c:v>
                </c:pt>
                <c:pt idx="39">
                  <c:v>453</c:v>
                </c:pt>
                <c:pt idx="40">
                  <c:v>329</c:v>
                </c:pt>
                <c:pt idx="41">
                  <c:v>496</c:v>
                </c:pt>
                <c:pt idx="42">
                  <c:v>731</c:v>
                </c:pt>
                <c:pt idx="43">
                  <c:v>594</c:v>
                </c:pt>
                <c:pt idx="44">
                  <c:v>390</c:v>
                </c:pt>
                <c:pt idx="45">
                  <c:v>484</c:v>
                </c:pt>
                <c:pt idx="46">
                  <c:v>313</c:v>
                </c:pt>
                <c:pt idx="47">
                  <c:v>130</c:v>
                </c:pt>
                <c:pt idx="48">
                  <c:v>280</c:v>
                </c:pt>
                <c:pt idx="49">
                  <c:v>502</c:v>
                </c:pt>
                <c:pt idx="50">
                  <c:v>461</c:v>
                </c:pt>
                <c:pt idx="51">
                  <c:v>220</c:v>
                </c:pt>
                <c:pt idx="52">
                  <c:v>444</c:v>
                </c:pt>
                <c:pt idx="53">
                  <c:v>226</c:v>
                </c:pt>
                <c:pt idx="54">
                  <c:v>130</c:v>
                </c:pt>
                <c:pt idx="55">
                  <c:v>299</c:v>
                </c:pt>
                <c:pt idx="56">
                  <c:v>390</c:v>
                </c:pt>
                <c:pt idx="57">
                  <c:v>331</c:v>
                </c:pt>
                <c:pt idx="58">
                  <c:v>216</c:v>
                </c:pt>
                <c:pt idx="59">
                  <c:v>265</c:v>
                </c:pt>
                <c:pt idx="60">
                  <c:v>207</c:v>
                </c:pt>
                <c:pt idx="61">
                  <c:v>86</c:v>
                </c:pt>
                <c:pt idx="62">
                  <c:v>241</c:v>
                </c:pt>
                <c:pt idx="63">
                  <c:v>275</c:v>
                </c:pt>
                <c:pt idx="64">
                  <c:v>250</c:v>
                </c:pt>
                <c:pt idx="65">
                  <c:v>295</c:v>
                </c:pt>
                <c:pt idx="66">
                  <c:v>230</c:v>
                </c:pt>
                <c:pt idx="67">
                  <c:v>177</c:v>
                </c:pt>
                <c:pt idx="68">
                  <c:v>61</c:v>
                </c:pt>
                <c:pt idx="69">
                  <c:v>140</c:v>
                </c:pt>
                <c:pt idx="70">
                  <c:v>274</c:v>
                </c:pt>
                <c:pt idx="71">
                  <c:v>246</c:v>
                </c:pt>
                <c:pt idx="72">
                  <c:v>187</c:v>
                </c:pt>
                <c:pt idx="73">
                  <c:v>227</c:v>
                </c:pt>
                <c:pt idx="74">
                  <c:v>133</c:v>
                </c:pt>
                <c:pt idx="75">
                  <c:v>72</c:v>
                </c:pt>
                <c:pt idx="76">
                  <c:v>215</c:v>
                </c:pt>
                <c:pt idx="77">
                  <c:v>300</c:v>
                </c:pt>
                <c:pt idx="78">
                  <c:v>240</c:v>
                </c:pt>
                <c:pt idx="79">
                  <c:v>314</c:v>
                </c:pt>
                <c:pt idx="80">
                  <c:v>272</c:v>
                </c:pt>
                <c:pt idx="81">
                  <c:v>223</c:v>
                </c:pt>
                <c:pt idx="82">
                  <c:v>127</c:v>
                </c:pt>
                <c:pt idx="83">
                  <c:v>250</c:v>
                </c:pt>
                <c:pt idx="84">
                  <c:v>429</c:v>
                </c:pt>
                <c:pt idx="85">
                  <c:v>403</c:v>
                </c:pt>
                <c:pt idx="86">
                  <c:v>374</c:v>
                </c:pt>
                <c:pt idx="87">
                  <c:v>370</c:v>
                </c:pt>
                <c:pt idx="88">
                  <c:v>328</c:v>
                </c:pt>
                <c:pt idx="89">
                  <c:v>106</c:v>
                </c:pt>
                <c:pt idx="90">
                  <c:v>320</c:v>
                </c:pt>
                <c:pt idx="91">
                  <c:v>464</c:v>
                </c:pt>
                <c:pt idx="92">
                  <c:v>472</c:v>
                </c:pt>
                <c:pt idx="93">
                  <c:v>380</c:v>
                </c:pt>
                <c:pt idx="94">
                  <c:v>308</c:v>
                </c:pt>
                <c:pt idx="95">
                  <c:v>409</c:v>
                </c:pt>
                <c:pt idx="96">
                  <c:v>166</c:v>
                </c:pt>
                <c:pt idx="97">
                  <c:v>302</c:v>
                </c:pt>
                <c:pt idx="98">
                  <c:v>455</c:v>
                </c:pt>
                <c:pt idx="99">
                  <c:v>497</c:v>
                </c:pt>
                <c:pt idx="100">
                  <c:v>361</c:v>
                </c:pt>
                <c:pt idx="101">
                  <c:v>548</c:v>
                </c:pt>
                <c:pt idx="102">
                  <c:v>380</c:v>
                </c:pt>
                <c:pt idx="103">
                  <c:v>105</c:v>
                </c:pt>
                <c:pt idx="104">
                  <c:v>308</c:v>
                </c:pt>
                <c:pt idx="105">
                  <c:v>545</c:v>
                </c:pt>
                <c:pt idx="106">
                  <c:v>466</c:v>
                </c:pt>
                <c:pt idx="107">
                  <c:v>394</c:v>
                </c:pt>
                <c:pt idx="108">
                  <c:v>331</c:v>
                </c:pt>
                <c:pt idx="109">
                  <c:v>280</c:v>
                </c:pt>
                <c:pt idx="110">
                  <c:v>122</c:v>
                </c:pt>
                <c:pt idx="111">
                  <c:v>236</c:v>
                </c:pt>
                <c:pt idx="112">
                  <c:v>510</c:v>
                </c:pt>
                <c:pt idx="113">
                  <c:v>428</c:v>
                </c:pt>
                <c:pt idx="114">
                  <c:v>371</c:v>
                </c:pt>
                <c:pt idx="115">
                  <c:v>342</c:v>
                </c:pt>
                <c:pt idx="116">
                  <c:v>299</c:v>
                </c:pt>
                <c:pt idx="117">
                  <c:v>138</c:v>
                </c:pt>
                <c:pt idx="118">
                  <c:v>267</c:v>
                </c:pt>
                <c:pt idx="119">
                  <c:v>543</c:v>
                </c:pt>
                <c:pt idx="120">
                  <c:v>395</c:v>
                </c:pt>
                <c:pt idx="121">
                  <c:v>502</c:v>
                </c:pt>
                <c:pt idx="122">
                  <c:v>257</c:v>
                </c:pt>
                <c:pt idx="123">
                  <c:v>176</c:v>
                </c:pt>
                <c:pt idx="124">
                  <c:v>151</c:v>
                </c:pt>
                <c:pt idx="125">
                  <c:v>103</c:v>
                </c:pt>
                <c:pt idx="126">
                  <c:v>178</c:v>
                </c:pt>
                <c:pt idx="127">
                  <c:v>502</c:v>
                </c:pt>
                <c:pt idx="128">
                  <c:v>400</c:v>
                </c:pt>
                <c:pt idx="129">
                  <c:v>303</c:v>
                </c:pt>
                <c:pt idx="130">
                  <c:v>235</c:v>
                </c:pt>
                <c:pt idx="131">
                  <c:v>87</c:v>
                </c:pt>
                <c:pt idx="132">
                  <c:v>188</c:v>
                </c:pt>
                <c:pt idx="133">
                  <c:v>399</c:v>
                </c:pt>
                <c:pt idx="134">
                  <c:v>270</c:v>
                </c:pt>
                <c:pt idx="135">
                  <c:v>263</c:v>
                </c:pt>
                <c:pt idx="136">
                  <c:v>255</c:v>
                </c:pt>
                <c:pt idx="137">
                  <c:v>191</c:v>
                </c:pt>
                <c:pt idx="138">
                  <c:v>108</c:v>
                </c:pt>
                <c:pt idx="139">
                  <c:v>210</c:v>
                </c:pt>
                <c:pt idx="140">
                  <c:v>276</c:v>
                </c:pt>
                <c:pt idx="141">
                  <c:v>343</c:v>
                </c:pt>
                <c:pt idx="142">
                  <c:v>250</c:v>
                </c:pt>
                <c:pt idx="143">
                  <c:v>226</c:v>
                </c:pt>
                <c:pt idx="144">
                  <c:v>145</c:v>
                </c:pt>
                <c:pt idx="145">
                  <c:v>93</c:v>
                </c:pt>
                <c:pt idx="146">
                  <c:v>168</c:v>
                </c:pt>
                <c:pt idx="147">
                  <c:v>244</c:v>
                </c:pt>
                <c:pt idx="148">
                  <c:v>231</c:v>
                </c:pt>
                <c:pt idx="149">
                  <c:v>196</c:v>
                </c:pt>
                <c:pt idx="150">
                  <c:v>149</c:v>
                </c:pt>
                <c:pt idx="151">
                  <c:v>175</c:v>
                </c:pt>
                <c:pt idx="152">
                  <c:v>11</c:v>
                </c:pt>
                <c:pt idx="153">
                  <c:v>159</c:v>
                </c:pt>
                <c:pt idx="154">
                  <c:v>194</c:v>
                </c:pt>
                <c:pt idx="155">
                  <c:v>166</c:v>
                </c:pt>
                <c:pt idx="156">
                  <c:v>133</c:v>
                </c:pt>
                <c:pt idx="157">
                  <c:v>94</c:v>
                </c:pt>
                <c:pt idx="158">
                  <c:v>104</c:v>
                </c:pt>
                <c:pt idx="159">
                  <c:v>20</c:v>
                </c:pt>
                <c:pt idx="160">
                  <c:v>100</c:v>
                </c:pt>
                <c:pt idx="161">
                  <c:v>148</c:v>
                </c:pt>
                <c:pt idx="162">
                  <c:v>103</c:v>
                </c:pt>
                <c:pt idx="163">
                  <c:v>119</c:v>
                </c:pt>
                <c:pt idx="164">
                  <c:v>68</c:v>
                </c:pt>
                <c:pt idx="165">
                  <c:v>67</c:v>
                </c:pt>
                <c:pt idx="166">
                  <c:v>6</c:v>
                </c:pt>
                <c:pt idx="167">
                  <c:v>85</c:v>
                </c:pt>
                <c:pt idx="168">
                  <c:v>74</c:v>
                </c:pt>
                <c:pt idx="169">
                  <c:v>51</c:v>
                </c:pt>
                <c:pt idx="170">
                  <c:v>87</c:v>
                </c:pt>
                <c:pt idx="171">
                  <c:v>51</c:v>
                </c:pt>
                <c:pt idx="172">
                  <c:v>48</c:v>
                </c:pt>
                <c:pt idx="173">
                  <c:v>5</c:v>
                </c:pt>
                <c:pt idx="174">
                  <c:v>64</c:v>
                </c:pt>
                <c:pt idx="175">
                  <c:v>66</c:v>
                </c:pt>
                <c:pt idx="176">
                  <c:v>29</c:v>
                </c:pt>
                <c:pt idx="177">
                  <c:v>42</c:v>
                </c:pt>
                <c:pt idx="178">
                  <c:v>47</c:v>
                </c:pt>
                <c:pt idx="179">
                  <c:v>30</c:v>
                </c:pt>
                <c:pt idx="18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351</c:v>
                </c:pt>
                <c:pt idx="89">
                  <c:v>351</c:v>
                </c:pt>
                <c:pt idx="90">
                  <c:v>349</c:v>
                </c:pt>
                <c:pt idx="91">
                  <c:v>345</c:v>
                </c:pt>
                <c:pt idx="92">
                  <c:v>341</c:v>
                </c:pt>
                <c:pt idx="93">
                  <c:v>337</c:v>
                </c:pt>
                <c:pt idx="94">
                  <c:v>332</c:v>
                </c:pt>
                <c:pt idx="95">
                  <c:v>327</c:v>
                </c:pt>
                <c:pt idx="96">
                  <c:v>322</c:v>
                </c:pt>
                <c:pt idx="97">
                  <c:v>317</c:v>
                </c:pt>
                <c:pt idx="98">
                  <c:v>311</c:v>
                </c:pt>
                <c:pt idx="99">
                  <c:v>306</c:v>
                </c:pt>
                <c:pt idx="100">
                  <c:v>300</c:v>
                </c:pt>
                <c:pt idx="101">
                  <c:v>295</c:v>
                </c:pt>
                <c:pt idx="102">
                  <c:v>289</c:v>
                </c:pt>
                <c:pt idx="103">
                  <c:v>283</c:v>
                </c:pt>
                <c:pt idx="104">
                  <c:v>277</c:v>
                </c:pt>
                <c:pt idx="105">
                  <c:v>271</c:v>
                </c:pt>
                <c:pt idx="106">
                  <c:v>265</c:v>
                </c:pt>
                <c:pt idx="107">
                  <c:v>259</c:v>
                </c:pt>
                <c:pt idx="108">
                  <c:v>253</c:v>
                </c:pt>
                <c:pt idx="109">
                  <c:v>247</c:v>
                </c:pt>
                <c:pt idx="110">
                  <c:v>241</c:v>
                </c:pt>
                <c:pt idx="111">
                  <c:v>236</c:v>
                </c:pt>
                <c:pt idx="112">
                  <c:v>230</c:v>
                </c:pt>
                <c:pt idx="113">
                  <c:v>224</c:v>
                </c:pt>
                <c:pt idx="114">
                  <c:v>218</c:v>
                </c:pt>
                <c:pt idx="115">
                  <c:v>213</c:v>
                </c:pt>
                <c:pt idx="116">
                  <c:v>207</c:v>
                </c:pt>
                <c:pt idx="117">
                  <c:v>202</c:v>
                </c:pt>
                <c:pt idx="118">
                  <c:v>196</c:v>
                </c:pt>
                <c:pt idx="119">
                  <c:v>191</c:v>
                </c:pt>
                <c:pt idx="120">
                  <c:v>186</c:v>
                </c:pt>
                <c:pt idx="121">
                  <c:v>181</c:v>
                </c:pt>
                <c:pt idx="122">
                  <c:v>176</c:v>
                </c:pt>
                <c:pt idx="123">
                  <c:v>171</c:v>
                </c:pt>
                <c:pt idx="124">
                  <c:v>166</c:v>
                </c:pt>
                <c:pt idx="125">
                  <c:v>161</c:v>
                </c:pt>
                <c:pt idx="126">
                  <c:v>157</c:v>
                </c:pt>
                <c:pt idx="127">
                  <c:v>152</c:v>
                </c:pt>
                <c:pt idx="128">
                  <c:v>148</c:v>
                </c:pt>
                <c:pt idx="129">
                  <c:v>144</c:v>
                </c:pt>
                <c:pt idx="130">
                  <c:v>140</c:v>
                </c:pt>
                <c:pt idx="131">
                  <c:v>136</c:v>
                </c:pt>
                <c:pt idx="132">
                  <c:v>132</c:v>
                </c:pt>
                <c:pt idx="133">
                  <c:v>128</c:v>
                </c:pt>
                <c:pt idx="134">
                  <c:v>124</c:v>
                </c:pt>
                <c:pt idx="135">
                  <c:v>120</c:v>
                </c:pt>
                <c:pt idx="136">
                  <c:v>116</c:v>
                </c:pt>
                <c:pt idx="137">
                  <c:v>113</c:v>
                </c:pt>
                <c:pt idx="138">
                  <c:v>109</c:v>
                </c:pt>
                <c:pt idx="139">
                  <c:v>106</c:v>
                </c:pt>
                <c:pt idx="140">
                  <c:v>102</c:v>
                </c:pt>
                <c:pt idx="141">
                  <c:v>99</c:v>
                </c:pt>
                <c:pt idx="142">
                  <c:v>96</c:v>
                </c:pt>
                <c:pt idx="143">
                  <c:v>93</c:v>
                </c:pt>
                <c:pt idx="144">
                  <c:v>90</c:v>
                </c:pt>
                <c:pt idx="145">
                  <c:v>87</c:v>
                </c:pt>
                <c:pt idx="146">
                  <c:v>84</c:v>
                </c:pt>
                <c:pt idx="147">
                  <c:v>81</c:v>
                </c:pt>
                <c:pt idx="148">
                  <c:v>78</c:v>
                </c:pt>
                <c:pt idx="149">
                  <c:v>76</c:v>
                </c:pt>
                <c:pt idx="150">
                  <c:v>73</c:v>
                </c:pt>
                <c:pt idx="151">
                  <c:v>71</c:v>
                </c:pt>
                <c:pt idx="152">
                  <c:v>68</c:v>
                </c:pt>
                <c:pt idx="153">
                  <c:v>66</c:v>
                </c:pt>
                <c:pt idx="154">
                  <c:v>64</c:v>
                </c:pt>
                <c:pt idx="155">
                  <c:v>61</c:v>
                </c:pt>
                <c:pt idx="156">
                  <c:v>59</c:v>
                </c:pt>
                <c:pt idx="157">
                  <c:v>57</c:v>
                </c:pt>
                <c:pt idx="158">
                  <c:v>55</c:v>
                </c:pt>
                <c:pt idx="159">
                  <c:v>53</c:v>
                </c:pt>
                <c:pt idx="160">
                  <c:v>51</c:v>
                </c:pt>
                <c:pt idx="161">
                  <c:v>49</c:v>
                </c:pt>
                <c:pt idx="162">
                  <c:v>47</c:v>
                </c:pt>
                <c:pt idx="163">
                  <c:v>45</c:v>
                </c:pt>
                <c:pt idx="164">
                  <c:v>43</c:v>
                </c:pt>
                <c:pt idx="165">
                  <c:v>41</c:v>
                </c:pt>
                <c:pt idx="166">
                  <c:v>39</c:v>
                </c:pt>
                <c:pt idx="167">
                  <c:v>38</c:v>
                </c:pt>
                <c:pt idx="168">
                  <c:v>36</c:v>
                </c:pt>
                <c:pt idx="169">
                  <c:v>34</c:v>
                </c:pt>
                <c:pt idx="170">
                  <c:v>32</c:v>
                </c:pt>
                <c:pt idx="171">
                  <c:v>31</c:v>
                </c:pt>
                <c:pt idx="172">
                  <c:v>29</c:v>
                </c:pt>
                <c:pt idx="173">
                  <c:v>28</c:v>
                </c:pt>
                <c:pt idx="174">
                  <c:v>26</c:v>
                </c:pt>
                <c:pt idx="175">
                  <c:v>25</c:v>
                </c:pt>
                <c:pt idx="176">
                  <c:v>23</c:v>
                </c:pt>
                <c:pt idx="177">
                  <c:v>22</c:v>
                </c:pt>
                <c:pt idx="178">
                  <c:v>21</c:v>
                </c:pt>
                <c:pt idx="179">
                  <c:v>20</c:v>
                </c:pt>
                <c:pt idx="180">
                  <c:v>19</c:v>
                </c:pt>
                <c:pt idx="181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384</c:v>
                </c:pt>
                <c:pt idx="89">
                  <c:v>385</c:v>
                </c:pt>
                <c:pt idx="90">
                  <c:v>384</c:v>
                </c:pt>
                <c:pt idx="91">
                  <c:v>381</c:v>
                </c:pt>
                <c:pt idx="92">
                  <c:v>378</c:v>
                </c:pt>
                <c:pt idx="93">
                  <c:v>374</c:v>
                </c:pt>
                <c:pt idx="94">
                  <c:v>370</c:v>
                </c:pt>
                <c:pt idx="95">
                  <c:v>365</c:v>
                </c:pt>
                <c:pt idx="96">
                  <c:v>361</c:v>
                </c:pt>
                <c:pt idx="97">
                  <c:v>356</c:v>
                </c:pt>
                <c:pt idx="98">
                  <c:v>351</c:v>
                </c:pt>
                <c:pt idx="99">
                  <c:v>346</c:v>
                </c:pt>
                <c:pt idx="100">
                  <c:v>341</c:v>
                </c:pt>
                <c:pt idx="101">
                  <c:v>335</c:v>
                </c:pt>
                <c:pt idx="102">
                  <c:v>330</c:v>
                </c:pt>
                <c:pt idx="103">
                  <c:v>325</c:v>
                </c:pt>
                <c:pt idx="104">
                  <c:v>319</c:v>
                </c:pt>
                <c:pt idx="105">
                  <c:v>314</c:v>
                </c:pt>
                <c:pt idx="106">
                  <c:v>308</c:v>
                </c:pt>
                <c:pt idx="107">
                  <c:v>303</c:v>
                </c:pt>
                <c:pt idx="108">
                  <c:v>297</c:v>
                </c:pt>
                <c:pt idx="109">
                  <c:v>292</c:v>
                </c:pt>
                <c:pt idx="110">
                  <c:v>286</c:v>
                </c:pt>
                <c:pt idx="111">
                  <c:v>281</c:v>
                </c:pt>
                <c:pt idx="112">
                  <c:v>276</c:v>
                </c:pt>
                <c:pt idx="113">
                  <c:v>270</c:v>
                </c:pt>
                <c:pt idx="114">
                  <c:v>265</c:v>
                </c:pt>
                <c:pt idx="115">
                  <c:v>260</c:v>
                </c:pt>
                <c:pt idx="116">
                  <c:v>255</c:v>
                </c:pt>
                <c:pt idx="117">
                  <c:v>250</c:v>
                </c:pt>
                <c:pt idx="118">
                  <c:v>245</c:v>
                </c:pt>
                <c:pt idx="119">
                  <c:v>240</c:v>
                </c:pt>
                <c:pt idx="120">
                  <c:v>235</c:v>
                </c:pt>
                <c:pt idx="121">
                  <c:v>230</c:v>
                </c:pt>
                <c:pt idx="122">
                  <c:v>225</c:v>
                </c:pt>
                <c:pt idx="123">
                  <c:v>220</c:v>
                </c:pt>
                <c:pt idx="124">
                  <c:v>215</c:v>
                </c:pt>
                <c:pt idx="125">
                  <c:v>211</c:v>
                </c:pt>
                <c:pt idx="126">
                  <c:v>206</c:v>
                </c:pt>
                <c:pt idx="127">
                  <c:v>202</c:v>
                </c:pt>
                <c:pt idx="128">
                  <c:v>197</c:v>
                </c:pt>
                <c:pt idx="129">
                  <c:v>193</c:v>
                </c:pt>
                <c:pt idx="130">
                  <c:v>189</c:v>
                </c:pt>
                <c:pt idx="131">
                  <c:v>184</c:v>
                </c:pt>
                <c:pt idx="132">
                  <c:v>180</c:v>
                </c:pt>
                <c:pt idx="133">
                  <c:v>176</c:v>
                </c:pt>
                <c:pt idx="134">
                  <c:v>172</c:v>
                </c:pt>
                <c:pt idx="135">
                  <c:v>168</c:v>
                </c:pt>
                <c:pt idx="136">
                  <c:v>164</c:v>
                </c:pt>
                <c:pt idx="137">
                  <c:v>161</c:v>
                </c:pt>
                <c:pt idx="138">
                  <c:v>157</c:v>
                </c:pt>
                <c:pt idx="139">
                  <c:v>153</c:v>
                </c:pt>
                <c:pt idx="140">
                  <c:v>150</c:v>
                </c:pt>
                <c:pt idx="141">
                  <c:v>146</c:v>
                </c:pt>
                <c:pt idx="142">
                  <c:v>143</c:v>
                </c:pt>
                <c:pt idx="143">
                  <c:v>139</c:v>
                </c:pt>
                <c:pt idx="144">
                  <c:v>136</c:v>
                </c:pt>
                <c:pt idx="145">
                  <c:v>133</c:v>
                </c:pt>
                <c:pt idx="146">
                  <c:v>130</c:v>
                </c:pt>
                <c:pt idx="147">
                  <c:v>127</c:v>
                </c:pt>
                <c:pt idx="148">
                  <c:v>124</c:v>
                </c:pt>
                <c:pt idx="149">
                  <c:v>121</c:v>
                </c:pt>
                <c:pt idx="150">
                  <c:v>118</c:v>
                </c:pt>
                <c:pt idx="151">
                  <c:v>115</c:v>
                </c:pt>
                <c:pt idx="152">
                  <c:v>112</c:v>
                </c:pt>
                <c:pt idx="153">
                  <c:v>109</c:v>
                </c:pt>
                <c:pt idx="154">
                  <c:v>107</c:v>
                </c:pt>
                <c:pt idx="155">
                  <c:v>104</c:v>
                </c:pt>
                <c:pt idx="156">
                  <c:v>101</c:v>
                </c:pt>
                <c:pt idx="157">
                  <c:v>99</c:v>
                </c:pt>
                <c:pt idx="158">
                  <c:v>96</c:v>
                </c:pt>
                <c:pt idx="159">
                  <c:v>94</c:v>
                </c:pt>
                <c:pt idx="160">
                  <c:v>92</c:v>
                </c:pt>
                <c:pt idx="161">
                  <c:v>89</c:v>
                </c:pt>
                <c:pt idx="162">
                  <c:v>87</c:v>
                </c:pt>
                <c:pt idx="163">
                  <c:v>85</c:v>
                </c:pt>
                <c:pt idx="164">
                  <c:v>83</c:v>
                </c:pt>
                <c:pt idx="165">
                  <c:v>81</c:v>
                </c:pt>
                <c:pt idx="166">
                  <c:v>79</c:v>
                </c:pt>
                <c:pt idx="167">
                  <c:v>77</c:v>
                </c:pt>
                <c:pt idx="168">
                  <c:v>75</c:v>
                </c:pt>
                <c:pt idx="169">
                  <c:v>73</c:v>
                </c:pt>
                <c:pt idx="170">
                  <c:v>71</c:v>
                </c:pt>
                <c:pt idx="171">
                  <c:v>69</c:v>
                </c:pt>
                <c:pt idx="172">
                  <c:v>68</c:v>
                </c:pt>
                <c:pt idx="173">
                  <c:v>66</c:v>
                </c:pt>
                <c:pt idx="174">
                  <c:v>64</c:v>
                </c:pt>
                <c:pt idx="175">
                  <c:v>62</c:v>
                </c:pt>
                <c:pt idx="176">
                  <c:v>61</c:v>
                </c:pt>
                <c:pt idx="177">
                  <c:v>59</c:v>
                </c:pt>
                <c:pt idx="178">
                  <c:v>58</c:v>
                </c:pt>
                <c:pt idx="179">
                  <c:v>56</c:v>
                </c:pt>
                <c:pt idx="180">
                  <c:v>55</c:v>
                </c:pt>
                <c:pt idx="181">
                  <c:v>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31</c:v>
                </c:pt>
                <c:pt idx="1">
                  <c:v>306</c:v>
                </c:pt>
                <c:pt idx="2">
                  <c:v>210</c:v>
                </c:pt>
                <c:pt idx="3">
                  <c:v>301</c:v>
                </c:pt>
                <c:pt idx="4">
                  <c:v>275</c:v>
                </c:pt>
                <c:pt idx="5">
                  <c:v>97</c:v>
                </c:pt>
                <c:pt idx="6">
                  <c:v>277</c:v>
                </c:pt>
                <c:pt idx="7">
                  <c:v>431</c:v>
                </c:pt>
                <c:pt idx="8">
                  <c:v>381</c:v>
                </c:pt>
                <c:pt idx="9">
                  <c:v>376</c:v>
                </c:pt>
                <c:pt idx="10">
                  <c:v>481</c:v>
                </c:pt>
                <c:pt idx="11">
                  <c:v>278</c:v>
                </c:pt>
                <c:pt idx="12">
                  <c:v>224</c:v>
                </c:pt>
                <c:pt idx="13">
                  <c:v>283</c:v>
                </c:pt>
                <c:pt idx="14">
                  <c:v>650</c:v>
                </c:pt>
                <c:pt idx="15">
                  <c:v>573</c:v>
                </c:pt>
                <c:pt idx="16">
                  <c:v>464</c:v>
                </c:pt>
                <c:pt idx="17">
                  <c:v>550</c:v>
                </c:pt>
                <c:pt idx="18">
                  <c:v>382</c:v>
                </c:pt>
                <c:pt idx="19">
                  <c:v>302</c:v>
                </c:pt>
                <c:pt idx="20">
                  <c:v>433</c:v>
                </c:pt>
                <c:pt idx="21">
                  <c:v>714</c:v>
                </c:pt>
                <c:pt idx="22">
                  <c:v>880</c:v>
                </c:pt>
                <c:pt idx="23">
                  <c:v>251</c:v>
                </c:pt>
                <c:pt idx="24">
                  <c:v>259</c:v>
                </c:pt>
                <c:pt idx="25">
                  <c:v>301</c:v>
                </c:pt>
                <c:pt idx="26">
                  <c:v>255</c:v>
                </c:pt>
                <c:pt idx="27">
                  <c:v>502</c:v>
                </c:pt>
                <c:pt idx="28">
                  <c:v>1047</c:v>
                </c:pt>
                <c:pt idx="29">
                  <c:v>1082</c:v>
                </c:pt>
                <c:pt idx="30">
                  <c:v>850</c:v>
                </c:pt>
                <c:pt idx="31">
                  <c:v>288</c:v>
                </c:pt>
                <c:pt idx="32">
                  <c:v>384</c:v>
                </c:pt>
                <c:pt idx="33">
                  <c:v>349</c:v>
                </c:pt>
                <c:pt idx="34">
                  <c:v>743</c:v>
                </c:pt>
                <c:pt idx="35">
                  <c:v>1259</c:v>
                </c:pt>
                <c:pt idx="36">
                  <c:v>933</c:v>
                </c:pt>
                <c:pt idx="37">
                  <c:v>1028</c:v>
                </c:pt>
                <c:pt idx="38">
                  <c:v>824</c:v>
                </c:pt>
                <c:pt idx="39">
                  <c:v>453</c:v>
                </c:pt>
                <c:pt idx="40">
                  <c:v>329</c:v>
                </c:pt>
                <c:pt idx="41">
                  <c:v>496</c:v>
                </c:pt>
                <c:pt idx="42">
                  <c:v>731</c:v>
                </c:pt>
                <c:pt idx="43">
                  <c:v>594</c:v>
                </c:pt>
                <c:pt idx="44">
                  <c:v>390</c:v>
                </c:pt>
                <c:pt idx="45">
                  <c:v>484</c:v>
                </c:pt>
                <c:pt idx="46">
                  <c:v>313</c:v>
                </c:pt>
                <c:pt idx="47">
                  <c:v>130</c:v>
                </c:pt>
                <c:pt idx="48">
                  <c:v>280</c:v>
                </c:pt>
                <c:pt idx="49">
                  <c:v>502</c:v>
                </c:pt>
                <c:pt idx="50">
                  <c:v>461</c:v>
                </c:pt>
                <c:pt idx="51">
                  <c:v>220</c:v>
                </c:pt>
                <c:pt idx="52">
                  <c:v>444</c:v>
                </c:pt>
                <c:pt idx="53">
                  <c:v>226</c:v>
                </c:pt>
                <c:pt idx="54">
                  <c:v>130</c:v>
                </c:pt>
                <c:pt idx="55">
                  <c:v>299</c:v>
                </c:pt>
                <c:pt idx="56">
                  <c:v>390</c:v>
                </c:pt>
                <c:pt idx="57">
                  <c:v>331</c:v>
                </c:pt>
                <c:pt idx="58">
                  <c:v>216</c:v>
                </c:pt>
                <c:pt idx="59">
                  <c:v>265</c:v>
                </c:pt>
                <c:pt idx="60">
                  <c:v>207</c:v>
                </c:pt>
                <c:pt idx="61">
                  <c:v>86</c:v>
                </c:pt>
                <c:pt idx="62">
                  <c:v>241</c:v>
                </c:pt>
                <c:pt idx="63">
                  <c:v>275</c:v>
                </c:pt>
                <c:pt idx="64">
                  <c:v>250</c:v>
                </c:pt>
                <c:pt idx="65">
                  <c:v>295</c:v>
                </c:pt>
                <c:pt idx="66">
                  <c:v>230</c:v>
                </c:pt>
                <c:pt idx="67">
                  <c:v>177</c:v>
                </c:pt>
                <c:pt idx="68">
                  <c:v>61</c:v>
                </c:pt>
                <c:pt idx="69">
                  <c:v>140</c:v>
                </c:pt>
                <c:pt idx="70">
                  <c:v>274</c:v>
                </c:pt>
                <c:pt idx="71">
                  <c:v>246</c:v>
                </c:pt>
                <c:pt idx="72">
                  <c:v>187</c:v>
                </c:pt>
                <c:pt idx="73">
                  <c:v>227</c:v>
                </c:pt>
                <c:pt idx="74">
                  <c:v>133</c:v>
                </c:pt>
                <c:pt idx="75">
                  <c:v>72</c:v>
                </c:pt>
                <c:pt idx="76">
                  <c:v>215</c:v>
                </c:pt>
                <c:pt idx="77">
                  <c:v>300</c:v>
                </c:pt>
                <c:pt idx="78">
                  <c:v>240</c:v>
                </c:pt>
                <c:pt idx="79">
                  <c:v>314</c:v>
                </c:pt>
                <c:pt idx="80">
                  <c:v>272</c:v>
                </c:pt>
                <c:pt idx="81">
                  <c:v>223</c:v>
                </c:pt>
                <c:pt idx="82">
                  <c:v>127</c:v>
                </c:pt>
                <c:pt idx="83">
                  <c:v>250</c:v>
                </c:pt>
                <c:pt idx="84">
                  <c:v>429</c:v>
                </c:pt>
                <c:pt idx="85">
                  <c:v>403</c:v>
                </c:pt>
                <c:pt idx="86">
                  <c:v>374</c:v>
                </c:pt>
                <c:pt idx="87">
                  <c:v>370</c:v>
                </c:pt>
                <c:pt idx="88">
                  <c:v>328</c:v>
                </c:pt>
                <c:pt idx="89">
                  <c:v>106</c:v>
                </c:pt>
                <c:pt idx="90">
                  <c:v>320</c:v>
                </c:pt>
                <c:pt idx="91">
                  <c:v>464</c:v>
                </c:pt>
                <c:pt idx="92">
                  <c:v>472</c:v>
                </c:pt>
                <c:pt idx="93">
                  <c:v>380</c:v>
                </c:pt>
                <c:pt idx="94">
                  <c:v>308</c:v>
                </c:pt>
                <c:pt idx="95">
                  <c:v>409</c:v>
                </c:pt>
                <c:pt idx="96">
                  <c:v>166</c:v>
                </c:pt>
                <c:pt idx="97">
                  <c:v>302</c:v>
                </c:pt>
                <c:pt idx="98">
                  <c:v>455</c:v>
                </c:pt>
                <c:pt idx="99">
                  <c:v>497</c:v>
                </c:pt>
                <c:pt idx="100">
                  <c:v>361</c:v>
                </c:pt>
                <c:pt idx="101">
                  <c:v>548</c:v>
                </c:pt>
                <c:pt idx="102">
                  <c:v>380</c:v>
                </c:pt>
                <c:pt idx="103">
                  <c:v>105</c:v>
                </c:pt>
                <c:pt idx="104">
                  <c:v>308</c:v>
                </c:pt>
                <c:pt idx="105">
                  <c:v>545</c:v>
                </c:pt>
                <c:pt idx="106">
                  <c:v>466</c:v>
                </c:pt>
                <c:pt idx="107">
                  <c:v>394</c:v>
                </c:pt>
                <c:pt idx="108">
                  <c:v>331</c:v>
                </c:pt>
                <c:pt idx="109">
                  <c:v>280</c:v>
                </c:pt>
                <c:pt idx="110">
                  <c:v>122</c:v>
                </c:pt>
                <c:pt idx="111">
                  <c:v>236</c:v>
                </c:pt>
                <c:pt idx="112">
                  <c:v>510</c:v>
                </c:pt>
                <c:pt idx="113">
                  <c:v>428</c:v>
                </c:pt>
                <c:pt idx="114">
                  <c:v>371</c:v>
                </c:pt>
                <c:pt idx="115">
                  <c:v>342</c:v>
                </c:pt>
                <c:pt idx="116">
                  <c:v>299</c:v>
                </c:pt>
                <c:pt idx="117">
                  <c:v>138</c:v>
                </c:pt>
                <c:pt idx="118">
                  <c:v>267</c:v>
                </c:pt>
                <c:pt idx="119">
                  <c:v>543</c:v>
                </c:pt>
                <c:pt idx="120">
                  <c:v>395</c:v>
                </c:pt>
                <c:pt idx="121">
                  <c:v>502</c:v>
                </c:pt>
                <c:pt idx="122">
                  <c:v>257</c:v>
                </c:pt>
                <c:pt idx="123">
                  <c:v>176</c:v>
                </c:pt>
                <c:pt idx="124">
                  <c:v>151</c:v>
                </c:pt>
                <c:pt idx="125">
                  <c:v>103</c:v>
                </c:pt>
                <c:pt idx="126">
                  <c:v>178</c:v>
                </c:pt>
                <c:pt idx="127">
                  <c:v>502</c:v>
                </c:pt>
                <c:pt idx="128">
                  <c:v>400</c:v>
                </c:pt>
                <c:pt idx="129">
                  <c:v>303</c:v>
                </c:pt>
                <c:pt idx="130">
                  <c:v>235</c:v>
                </c:pt>
                <c:pt idx="131">
                  <c:v>87</c:v>
                </c:pt>
                <c:pt idx="132">
                  <c:v>188</c:v>
                </c:pt>
                <c:pt idx="133">
                  <c:v>399</c:v>
                </c:pt>
                <c:pt idx="134">
                  <c:v>270</c:v>
                </c:pt>
                <c:pt idx="135">
                  <c:v>263</c:v>
                </c:pt>
                <c:pt idx="136">
                  <c:v>255</c:v>
                </c:pt>
                <c:pt idx="137">
                  <c:v>191</c:v>
                </c:pt>
                <c:pt idx="138">
                  <c:v>108</c:v>
                </c:pt>
                <c:pt idx="139">
                  <c:v>210</c:v>
                </c:pt>
                <c:pt idx="140">
                  <c:v>276</c:v>
                </c:pt>
                <c:pt idx="141">
                  <c:v>343</c:v>
                </c:pt>
                <c:pt idx="142">
                  <c:v>250</c:v>
                </c:pt>
                <c:pt idx="143">
                  <c:v>226</c:v>
                </c:pt>
                <c:pt idx="144">
                  <c:v>145</c:v>
                </c:pt>
                <c:pt idx="145">
                  <c:v>93</c:v>
                </c:pt>
                <c:pt idx="146">
                  <c:v>168</c:v>
                </c:pt>
                <c:pt idx="147">
                  <c:v>244</c:v>
                </c:pt>
                <c:pt idx="148">
                  <c:v>231</c:v>
                </c:pt>
                <c:pt idx="149">
                  <c:v>196</c:v>
                </c:pt>
                <c:pt idx="150">
                  <c:v>149</c:v>
                </c:pt>
                <c:pt idx="151">
                  <c:v>175</c:v>
                </c:pt>
                <c:pt idx="152">
                  <c:v>11</c:v>
                </c:pt>
                <c:pt idx="153">
                  <c:v>159</c:v>
                </c:pt>
                <c:pt idx="154">
                  <c:v>194</c:v>
                </c:pt>
                <c:pt idx="155">
                  <c:v>166</c:v>
                </c:pt>
                <c:pt idx="156">
                  <c:v>133</c:v>
                </c:pt>
                <c:pt idx="157">
                  <c:v>94</c:v>
                </c:pt>
                <c:pt idx="158">
                  <c:v>104</c:v>
                </c:pt>
                <c:pt idx="159">
                  <c:v>20</c:v>
                </c:pt>
                <c:pt idx="160">
                  <c:v>100</c:v>
                </c:pt>
                <c:pt idx="161">
                  <c:v>148</c:v>
                </c:pt>
                <c:pt idx="162">
                  <c:v>103</c:v>
                </c:pt>
                <c:pt idx="163">
                  <c:v>119</c:v>
                </c:pt>
                <c:pt idx="164">
                  <c:v>68</c:v>
                </c:pt>
                <c:pt idx="165">
                  <c:v>67</c:v>
                </c:pt>
                <c:pt idx="166">
                  <c:v>6</c:v>
                </c:pt>
                <c:pt idx="167">
                  <c:v>85</c:v>
                </c:pt>
                <c:pt idx="168">
                  <c:v>74</c:v>
                </c:pt>
                <c:pt idx="169">
                  <c:v>51</c:v>
                </c:pt>
                <c:pt idx="170">
                  <c:v>87</c:v>
                </c:pt>
                <c:pt idx="171">
                  <c:v>51</c:v>
                </c:pt>
                <c:pt idx="172">
                  <c:v>48</c:v>
                </c:pt>
                <c:pt idx="173">
                  <c:v>5</c:v>
                </c:pt>
                <c:pt idx="174">
                  <c:v>64</c:v>
                </c:pt>
                <c:pt idx="175">
                  <c:v>66</c:v>
                </c:pt>
                <c:pt idx="176">
                  <c:v>29</c:v>
                </c:pt>
                <c:pt idx="177">
                  <c:v>42</c:v>
                </c:pt>
                <c:pt idx="178">
                  <c:v>47</c:v>
                </c:pt>
                <c:pt idx="179">
                  <c:v>30</c:v>
                </c:pt>
                <c:pt idx="18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02-4132-8307-8388D5B42D2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6</c:v>
                </c:pt>
                <c:pt idx="169">
                  <c:v>102</c:v>
                </c:pt>
                <c:pt idx="170">
                  <c:v>97</c:v>
                </c:pt>
                <c:pt idx="171">
                  <c:v>93</c:v>
                </c:pt>
                <c:pt idx="172">
                  <c:v>89</c:v>
                </c:pt>
                <c:pt idx="173">
                  <c:v>84</c:v>
                </c:pt>
                <c:pt idx="174">
                  <c:v>80</c:v>
                </c:pt>
                <c:pt idx="175">
                  <c:v>76</c:v>
                </c:pt>
                <c:pt idx="176">
                  <c:v>72</c:v>
                </c:pt>
                <c:pt idx="177">
                  <c:v>69</c:v>
                </c:pt>
                <c:pt idx="178">
                  <c:v>65</c:v>
                </c:pt>
                <c:pt idx="179">
                  <c:v>62</c:v>
                </c:pt>
                <c:pt idx="180">
                  <c:v>58</c:v>
                </c:pt>
                <c:pt idx="181">
                  <c:v>55</c:v>
                </c:pt>
                <c:pt idx="182">
                  <c:v>52</c:v>
                </c:pt>
                <c:pt idx="183">
                  <c:v>49</c:v>
                </c:pt>
                <c:pt idx="184">
                  <c:v>46</c:v>
                </c:pt>
                <c:pt idx="185">
                  <c:v>43</c:v>
                </c:pt>
                <c:pt idx="186">
                  <c:v>41</c:v>
                </c:pt>
                <c:pt idx="187">
                  <c:v>38</c:v>
                </c:pt>
                <c:pt idx="188">
                  <c:v>36</c:v>
                </c:pt>
                <c:pt idx="189">
                  <c:v>34</c:v>
                </c:pt>
                <c:pt idx="190">
                  <c:v>32</c:v>
                </c:pt>
                <c:pt idx="191">
                  <c:v>30</c:v>
                </c:pt>
                <c:pt idx="192">
                  <c:v>28</c:v>
                </c:pt>
                <c:pt idx="193">
                  <c:v>27</c:v>
                </c:pt>
                <c:pt idx="194">
                  <c:v>25</c:v>
                </c:pt>
                <c:pt idx="195">
                  <c:v>24</c:v>
                </c:pt>
                <c:pt idx="196">
                  <c:v>22</c:v>
                </c:pt>
                <c:pt idx="197">
                  <c:v>21</c:v>
                </c:pt>
                <c:pt idx="198">
                  <c:v>20</c:v>
                </c:pt>
                <c:pt idx="199">
                  <c:v>18</c:v>
                </c:pt>
                <c:pt idx="200">
                  <c:v>17</c:v>
                </c:pt>
                <c:pt idx="201">
                  <c:v>16</c:v>
                </c:pt>
                <c:pt idx="202">
                  <c:v>15</c:v>
                </c:pt>
                <c:pt idx="203">
                  <c:v>14</c:v>
                </c:pt>
                <c:pt idx="204">
                  <c:v>13</c:v>
                </c:pt>
                <c:pt idx="205">
                  <c:v>12</c:v>
                </c:pt>
                <c:pt idx="206">
                  <c:v>11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7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02-4132-8307-8388D5B42D2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9</c:v>
                </c:pt>
                <c:pt idx="169">
                  <c:v>108</c:v>
                </c:pt>
                <c:pt idx="170">
                  <c:v>107</c:v>
                </c:pt>
                <c:pt idx="171">
                  <c:v>107</c:v>
                </c:pt>
                <c:pt idx="172">
                  <c:v>107</c:v>
                </c:pt>
                <c:pt idx="173">
                  <c:v>106</c:v>
                </c:pt>
                <c:pt idx="174">
                  <c:v>106</c:v>
                </c:pt>
                <c:pt idx="175">
                  <c:v>107</c:v>
                </c:pt>
                <c:pt idx="176">
                  <c:v>110</c:v>
                </c:pt>
                <c:pt idx="177">
                  <c:v>112</c:v>
                </c:pt>
                <c:pt idx="178">
                  <c:v>115</c:v>
                </c:pt>
                <c:pt idx="179">
                  <c:v>118</c:v>
                </c:pt>
                <c:pt idx="180">
                  <c:v>121</c:v>
                </c:pt>
                <c:pt idx="181">
                  <c:v>124</c:v>
                </c:pt>
                <c:pt idx="182">
                  <c:v>127</c:v>
                </c:pt>
                <c:pt idx="183">
                  <c:v>130</c:v>
                </c:pt>
                <c:pt idx="184">
                  <c:v>133</c:v>
                </c:pt>
                <c:pt idx="185">
                  <c:v>136</c:v>
                </c:pt>
                <c:pt idx="186">
                  <c:v>139</c:v>
                </c:pt>
                <c:pt idx="187">
                  <c:v>142</c:v>
                </c:pt>
                <c:pt idx="188">
                  <c:v>145</c:v>
                </c:pt>
                <c:pt idx="189">
                  <c:v>149</c:v>
                </c:pt>
                <c:pt idx="190">
                  <c:v>152</c:v>
                </c:pt>
                <c:pt idx="191">
                  <c:v>156</c:v>
                </c:pt>
                <c:pt idx="192">
                  <c:v>159</c:v>
                </c:pt>
                <c:pt idx="193">
                  <c:v>162</c:v>
                </c:pt>
                <c:pt idx="194">
                  <c:v>166</c:v>
                </c:pt>
                <c:pt idx="195">
                  <c:v>169</c:v>
                </c:pt>
                <c:pt idx="196">
                  <c:v>172</c:v>
                </c:pt>
                <c:pt idx="197">
                  <c:v>175</c:v>
                </c:pt>
                <c:pt idx="198">
                  <c:v>177</c:v>
                </c:pt>
                <c:pt idx="199">
                  <c:v>180</c:v>
                </c:pt>
                <c:pt idx="200">
                  <c:v>182</c:v>
                </c:pt>
                <c:pt idx="201">
                  <c:v>184</c:v>
                </c:pt>
                <c:pt idx="202">
                  <c:v>186</c:v>
                </c:pt>
                <c:pt idx="203">
                  <c:v>187</c:v>
                </c:pt>
                <c:pt idx="204">
                  <c:v>189</c:v>
                </c:pt>
                <c:pt idx="205">
                  <c:v>190</c:v>
                </c:pt>
                <c:pt idx="206">
                  <c:v>190</c:v>
                </c:pt>
                <c:pt idx="207">
                  <c:v>191</c:v>
                </c:pt>
                <c:pt idx="208">
                  <c:v>191</c:v>
                </c:pt>
                <c:pt idx="209">
                  <c:v>191</c:v>
                </c:pt>
                <c:pt idx="210">
                  <c:v>190</c:v>
                </c:pt>
                <c:pt idx="211">
                  <c:v>189</c:v>
                </c:pt>
                <c:pt idx="212">
                  <c:v>188</c:v>
                </c:pt>
                <c:pt idx="213">
                  <c:v>187</c:v>
                </c:pt>
                <c:pt idx="214">
                  <c:v>185</c:v>
                </c:pt>
                <c:pt idx="215">
                  <c:v>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02-4132-8307-8388D5B42D2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02-4132-8307-8388D5B42D2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678</c:v>
                </c:pt>
                <c:pt idx="1">
                  <c:v>676</c:v>
                </c:pt>
                <c:pt idx="2">
                  <c:v>649</c:v>
                </c:pt>
                <c:pt idx="3">
                  <c:v>620</c:v>
                </c:pt>
                <c:pt idx="4">
                  <c:v>382</c:v>
                </c:pt>
                <c:pt idx="5">
                  <c:v>196</c:v>
                </c:pt>
                <c:pt idx="6">
                  <c:v>573</c:v>
                </c:pt>
                <c:pt idx="7">
                  <c:v>945</c:v>
                </c:pt>
                <c:pt idx="8">
                  <c:v>729</c:v>
                </c:pt>
                <c:pt idx="9">
                  <c:v>762</c:v>
                </c:pt>
                <c:pt idx="10">
                  <c:v>924</c:v>
                </c:pt>
                <c:pt idx="11">
                  <c:v>534</c:v>
                </c:pt>
                <c:pt idx="12">
                  <c:v>307</c:v>
                </c:pt>
                <c:pt idx="13">
                  <c:v>775</c:v>
                </c:pt>
                <c:pt idx="14">
                  <c:v>1137</c:v>
                </c:pt>
                <c:pt idx="15">
                  <c:v>1292</c:v>
                </c:pt>
                <c:pt idx="16">
                  <c:v>1146</c:v>
                </c:pt>
                <c:pt idx="17">
                  <c:v>1344</c:v>
                </c:pt>
                <c:pt idx="18">
                  <c:v>833</c:v>
                </c:pt>
                <c:pt idx="19">
                  <c:v>766</c:v>
                </c:pt>
                <c:pt idx="20">
                  <c:v>1293</c:v>
                </c:pt>
                <c:pt idx="21">
                  <c:v>1629</c:v>
                </c:pt>
                <c:pt idx="22">
                  <c:v>1777</c:v>
                </c:pt>
                <c:pt idx="23">
                  <c:v>875</c:v>
                </c:pt>
                <c:pt idx="24">
                  <c:v>287</c:v>
                </c:pt>
                <c:pt idx="25">
                  <c:v>530</c:v>
                </c:pt>
                <c:pt idx="26">
                  <c:v>736</c:v>
                </c:pt>
                <c:pt idx="27">
                  <c:v>1796</c:v>
                </c:pt>
                <c:pt idx="28">
                  <c:v>2276</c:v>
                </c:pt>
                <c:pt idx="29">
                  <c:v>2541</c:v>
                </c:pt>
                <c:pt idx="30">
                  <c:v>1667</c:v>
                </c:pt>
                <c:pt idx="31">
                  <c:v>317</c:v>
                </c:pt>
                <c:pt idx="32">
                  <c:v>891</c:v>
                </c:pt>
                <c:pt idx="33">
                  <c:v>1197</c:v>
                </c:pt>
                <c:pt idx="34">
                  <c:v>2127</c:v>
                </c:pt>
                <c:pt idx="35">
                  <c:v>2406</c:v>
                </c:pt>
                <c:pt idx="36">
                  <c:v>2212</c:v>
                </c:pt>
                <c:pt idx="37">
                  <c:v>2212</c:v>
                </c:pt>
                <c:pt idx="38">
                  <c:v>1778</c:v>
                </c:pt>
                <c:pt idx="39">
                  <c:v>1286</c:v>
                </c:pt>
                <c:pt idx="40">
                  <c:v>724</c:v>
                </c:pt>
                <c:pt idx="41">
                  <c:v>1413</c:v>
                </c:pt>
                <c:pt idx="42">
                  <c:v>1493</c:v>
                </c:pt>
                <c:pt idx="43">
                  <c:v>1327</c:v>
                </c:pt>
                <c:pt idx="44">
                  <c:v>1002</c:v>
                </c:pt>
                <c:pt idx="45">
                  <c:v>1106</c:v>
                </c:pt>
                <c:pt idx="46">
                  <c:v>760</c:v>
                </c:pt>
                <c:pt idx="47">
                  <c:v>623</c:v>
                </c:pt>
                <c:pt idx="48">
                  <c:v>729</c:v>
                </c:pt>
                <c:pt idx="49">
                  <c:v>994</c:v>
                </c:pt>
                <c:pt idx="50">
                  <c:v>755</c:v>
                </c:pt>
                <c:pt idx="51">
                  <c:v>774</c:v>
                </c:pt>
                <c:pt idx="52">
                  <c:v>878</c:v>
                </c:pt>
                <c:pt idx="53">
                  <c:v>361</c:v>
                </c:pt>
                <c:pt idx="54">
                  <c:v>343</c:v>
                </c:pt>
                <c:pt idx="55">
                  <c:v>725</c:v>
                </c:pt>
                <c:pt idx="56">
                  <c:v>881</c:v>
                </c:pt>
                <c:pt idx="57">
                  <c:v>664</c:v>
                </c:pt>
                <c:pt idx="58">
                  <c:v>645</c:v>
                </c:pt>
                <c:pt idx="59">
                  <c:v>672</c:v>
                </c:pt>
                <c:pt idx="60">
                  <c:v>423</c:v>
                </c:pt>
                <c:pt idx="61">
                  <c:v>205</c:v>
                </c:pt>
                <c:pt idx="62">
                  <c:v>616</c:v>
                </c:pt>
                <c:pt idx="63">
                  <c:v>653</c:v>
                </c:pt>
                <c:pt idx="64">
                  <c:v>565</c:v>
                </c:pt>
                <c:pt idx="65">
                  <c:v>525</c:v>
                </c:pt>
                <c:pt idx="66">
                  <c:v>752</c:v>
                </c:pt>
                <c:pt idx="67">
                  <c:v>296</c:v>
                </c:pt>
                <c:pt idx="68">
                  <c:v>178</c:v>
                </c:pt>
                <c:pt idx="69">
                  <c:v>507</c:v>
                </c:pt>
                <c:pt idx="70">
                  <c:v>714</c:v>
                </c:pt>
                <c:pt idx="71">
                  <c:v>640</c:v>
                </c:pt>
                <c:pt idx="72">
                  <c:v>611</c:v>
                </c:pt>
                <c:pt idx="73">
                  <c:v>585</c:v>
                </c:pt>
                <c:pt idx="74">
                  <c:v>366</c:v>
                </c:pt>
                <c:pt idx="75">
                  <c:v>169</c:v>
                </c:pt>
                <c:pt idx="76">
                  <c:v>657</c:v>
                </c:pt>
                <c:pt idx="77">
                  <c:v>881</c:v>
                </c:pt>
                <c:pt idx="78">
                  <c:v>820</c:v>
                </c:pt>
                <c:pt idx="79">
                  <c:v>693</c:v>
                </c:pt>
                <c:pt idx="80">
                  <c:v>790</c:v>
                </c:pt>
                <c:pt idx="81">
                  <c:v>499</c:v>
                </c:pt>
                <c:pt idx="82">
                  <c:v>206</c:v>
                </c:pt>
                <c:pt idx="83">
                  <c:v>755</c:v>
                </c:pt>
                <c:pt idx="84">
                  <c:v>1210</c:v>
                </c:pt>
                <c:pt idx="85">
                  <c:v>985</c:v>
                </c:pt>
                <c:pt idx="86">
                  <c:v>1034</c:v>
                </c:pt>
                <c:pt idx="87">
                  <c:v>952</c:v>
                </c:pt>
                <c:pt idx="88">
                  <c:v>555</c:v>
                </c:pt>
                <c:pt idx="89">
                  <c:v>291</c:v>
                </c:pt>
                <c:pt idx="90">
                  <c:v>1030</c:v>
                </c:pt>
                <c:pt idx="91">
                  <c:v>1204</c:v>
                </c:pt>
                <c:pt idx="92">
                  <c:v>986</c:v>
                </c:pt>
                <c:pt idx="93">
                  <c:v>1022</c:v>
                </c:pt>
                <c:pt idx="94">
                  <c:v>823</c:v>
                </c:pt>
                <c:pt idx="95">
                  <c:v>674</c:v>
                </c:pt>
                <c:pt idx="96">
                  <c:v>255</c:v>
                </c:pt>
                <c:pt idx="97">
                  <c:v>959</c:v>
                </c:pt>
                <c:pt idx="98">
                  <c:v>1148</c:v>
                </c:pt>
                <c:pt idx="99">
                  <c:v>858</c:v>
                </c:pt>
                <c:pt idx="100">
                  <c:v>959</c:v>
                </c:pt>
                <c:pt idx="101">
                  <c:v>1013</c:v>
                </c:pt>
                <c:pt idx="102">
                  <c:v>467</c:v>
                </c:pt>
                <c:pt idx="103">
                  <c:v>165</c:v>
                </c:pt>
                <c:pt idx="104">
                  <c:v>1420</c:v>
                </c:pt>
                <c:pt idx="105">
                  <c:v>1049</c:v>
                </c:pt>
                <c:pt idx="106">
                  <c:v>1049</c:v>
                </c:pt>
                <c:pt idx="107">
                  <c:v>1003</c:v>
                </c:pt>
                <c:pt idx="108">
                  <c:v>762</c:v>
                </c:pt>
                <c:pt idx="109">
                  <c:v>452</c:v>
                </c:pt>
                <c:pt idx="110">
                  <c:v>224</c:v>
                </c:pt>
                <c:pt idx="111">
                  <c:v>883</c:v>
                </c:pt>
                <c:pt idx="112">
                  <c:v>1006</c:v>
                </c:pt>
                <c:pt idx="113">
                  <c:v>868</c:v>
                </c:pt>
                <c:pt idx="114">
                  <c:v>759</c:v>
                </c:pt>
                <c:pt idx="115">
                  <c:v>765</c:v>
                </c:pt>
                <c:pt idx="116">
                  <c:v>474</c:v>
                </c:pt>
                <c:pt idx="117">
                  <c:v>166</c:v>
                </c:pt>
                <c:pt idx="118">
                  <c:v>757</c:v>
                </c:pt>
                <c:pt idx="119">
                  <c:v>870</c:v>
                </c:pt>
                <c:pt idx="120">
                  <c:v>802</c:v>
                </c:pt>
                <c:pt idx="121">
                  <c:v>766</c:v>
                </c:pt>
                <c:pt idx="122">
                  <c:v>265</c:v>
                </c:pt>
                <c:pt idx="123">
                  <c:v>274</c:v>
                </c:pt>
                <c:pt idx="124">
                  <c:v>280</c:v>
                </c:pt>
                <c:pt idx="125">
                  <c:v>137</c:v>
                </c:pt>
                <c:pt idx="126">
                  <c:v>750</c:v>
                </c:pt>
                <c:pt idx="127">
                  <c:v>744</c:v>
                </c:pt>
                <c:pt idx="128">
                  <c:v>675</c:v>
                </c:pt>
                <c:pt idx="129">
                  <c:v>546</c:v>
                </c:pt>
                <c:pt idx="130">
                  <c:v>304</c:v>
                </c:pt>
                <c:pt idx="131">
                  <c:v>104</c:v>
                </c:pt>
                <c:pt idx="132">
                  <c:v>605</c:v>
                </c:pt>
                <c:pt idx="133">
                  <c:v>589</c:v>
                </c:pt>
                <c:pt idx="134">
                  <c:v>553</c:v>
                </c:pt>
                <c:pt idx="135">
                  <c:v>411</c:v>
                </c:pt>
                <c:pt idx="136">
                  <c:v>422</c:v>
                </c:pt>
                <c:pt idx="137">
                  <c:v>205</c:v>
                </c:pt>
                <c:pt idx="138">
                  <c:v>138</c:v>
                </c:pt>
                <c:pt idx="139">
                  <c:v>448</c:v>
                </c:pt>
                <c:pt idx="140">
                  <c:v>502</c:v>
                </c:pt>
                <c:pt idx="141">
                  <c:v>368</c:v>
                </c:pt>
                <c:pt idx="142">
                  <c:v>335</c:v>
                </c:pt>
                <c:pt idx="143">
                  <c:v>319</c:v>
                </c:pt>
                <c:pt idx="144">
                  <c:v>247</c:v>
                </c:pt>
                <c:pt idx="145">
                  <c:v>90</c:v>
                </c:pt>
                <c:pt idx="146">
                  <c:v>319</c:v>
                </c:pt>
                <c:pt idx="147">
                  <c:v>480</c:v>
                </c:pt>
                <c:pt idx="148">
                  <c:v>370</c:v>
                </c:pt>
                <c:pt idx="149">
                  <c:v>227</c:v>
                </c:pt>
                <c:pt idx="150">
                  <c:v>306</c:v>
                </c:pt>
                <c:pt idx="151">
                  <c:v>160</c:v>
                </c:pt>
                <c:pt idx="152">
                  <c:v>67</c:v>
                </c:pt>
                <c:pt idx="153">
                  <c:v>325</c:v>
                </c:pt>
                <c:pt idx="154">
                  <c:v>349</c:v>
                </c:pt>
                <c:pt idx="155">
                  <c:v>275</c:v>
                </c:pt>
                <c:pt idx="156">
                  <c:v>209</c:v>
                </c:pt>
                <c:pt idx="157">
                  <c:v>235</c:v>
                </c:pt>
                <c:pt idx="158">
                  <c:v>131</c:v>
                </c:pt>
                <c:pt idx="159">
                  <c:v>55</c:v>
                </c:pt>
                <c:pt idx="160">
                  <c:v>299</c:v>
                </c:pt>
                <c:pt idx="161">
                  <c:v>252</c:v>
                </c:pt>
                <c:pt idx="162">
                  <c:v>163</c:v>
                </c:pt>
                <c:pt idx="163">
                  <c:v>244</c:v>
                </c:pt>
                <c:pt idx="164">
                  <c:v>175</c:v>
                </c:pt>
                <c:pt idx="165">
                  <c:v>96</c:v>
                </c:pt>
                <c:pt idx="166">
                  <c:v>44</c:v>
                </c:pt>
                <c:pt idx="167">
                  <c:v>161</c:v>
                </c:pt>
                <c:pt idx="168">
                  <c:v>204</c:v>
                </c:pt>
                <c:pt idx="169">
                  <c:v>109</c:v>
                </c:pt>
                <c:pt idx="170">
                  <c:v>115</c:v>
                </c:pt>
                <c:pt idx="171">
                  <c:v>81</c:v>
                </c:pt>
                <c:pt idx="172">
                  <c:v>72</c:v>
                </c:pt>
                <c:pt idx="173">
                  <c:v>26</c:v>
                </c:pt>
                <c:pt idx="174">
                  <c:v>124</c:v>
                </c:pt>
                <c:pt idx="175">
                  <c:v>94</c:v>
                </c:pt>
                <c:pt idx="176">
                  <c:v>81</c:v>
                </c:pt>
                <c:pt idx="177">
                  <c:v>83</c:v>
                </c:pt>
                <c:pt idx="178">
                  <c:v>53</c:v>
                </c:pt>
                <c:pt idx="179">
                  <c:v>23</c:v>
                </c:pt>
                <c:pt idx="18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F-45CD-B420-168D914662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91F-45CD-B420-168D9146621A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961</c:v>
                </c:pt>
                <c:pt idx="89">
                  <c:v>978</c:v>
                </c:pt>
                <c:pt idx="90">
                  <c:v>992</c:v>
                </c:pt>
                <c:pt idx="91">
                  <c:v>1004</c:v>
                </c:pt>
                <c:pt idx="92">
                  <c:v>1016</c:v>
                </c:pt>
                <c:pt idx="93">
                  <c:v>1026</c:v>
                </c:pt>
                <c:pt idx="94">
                  <c:v>1036</c:v>
                </c:pt>
                <c:pt idx="95">
                  <c:v>1045</c:v>
                </c:pt>
                <c:pt idx="96">
                  <c:v>1053</c:v>
                </c:pt>
                <c:pt idx="97">
                  <c:v>1061</c:v>
                </c:pt>
                <c:pt idx="98">
                  <c:v>1069</c:v>
                </c:pt>
                <c:pt idx="99">
                  <c:v>1076</c:v>
                </c:pt>
                <c:pt idx="100">
                  <c:v>1082</c:v>
                </c:pt>
                <c:pt idx="101">
                  <c:v>1088</c:v>
                </c:pt>
                <c:pt idx="102">
                  <c:v>1093</c:v>
                </c:pt>
                <c:pt idx="103">
                  <c:v>1098</c:v>
                </c:pt>
                <c:pt idx="104">
                  <c:v>1103</c:v>
                </c:pt>
                <c:pt idx="105">
                  <c:v>1106</c:v>
                </c:pt>
                <c:pt idx="106">
                  <c:v>1110</c:v>
                </c:pt>
                <c:pt idx="107">
                  <c:v>1113</c:v>
                </c:pt>
                <c:pt idx="108">
                  <c:v>1115</c:v>
                </c:pt>
                <c:pt idx="109">
                  <c:v>1117</c:v>
                </c:pt>
                <c:pt idx="110">
                  <c:v>1119</c:v>
                </c:pt>
                <c:pt idx="111">
                  <c:v>1120</c:v>
                </c:pt>
                <c:pt idx="112">
                  <c:v>1121</c:v>
                </c:pt>
                <c:pt idx="113">
                  <c:v>1121</c:v>
                </c:pt>
                <c:pt idx="114">
                  <c:v>1121</c:v>
                </c:pt>
                <c:pt idx="115">
                  <c:v>1120</c:v>
                </c:pt>
                <c:pt idx="116">
                  <c:v>1119</c:v>
                </c:pt>
                <c:pt idx="117">
                  <c:v>1117</c:v>
                </c:pt>
                <c:pt idx="118">
                  <c:v>1116</c:v>
                </c:pt>
                <c:pt idx="119">
                  <c:v>1113</c:v>
                </c:pt>
                <c:pt idx="120">
                  <c:v>1110</c:v>
                </c:pt>
                <c:pt idx="121">
                  <c:v>1107</c:v>
                </c:pt>
                <c:pt idx="122">
                  <c:v>1104</c:v>
                </c:pt>
                <c:pt idx="123">
                  <c:v>1100</c:v>
                </c:pt>
                <c:pt idx="124">
                  <c:v>1095</c:v>
                </c:pt>
                <c:pt idx="125">
                  <c:v>1091</c:v>
                </c:pt>
                <c:pt idx="126">
                  <c:v>1086</c:v>
                </c:pt>
                <c:pt idx="127">
                  <c:v>1080</c:v>
                </c:pt>
                <c:pt idx="128">
                  <c:v>1074</c:v>
                </c:pt>
                <c:pt idx="129">
                  <c:v>1068</c:v>
                </c:pt>
                <c:pt idx="130">
                  <c:v>1062</c:v>
                </c:pt>
                <c:pt idx="131">
                  <c:v>1055</c:v>
                </c:pt>
                <c:pt idx="132">
                  <c:v>1048</c:v>
                </c:pt>
                <c:pt idx="133">
                  <c:v>1040</c:v>
                </c:pt>
                <c:pt idx="134">
                  <c:v>1032</c:v>
                </c:pt>
                <c:pt idx="135">
                  <c:v>1024</c:v>
                </c:pt>
                <c:pt idx="136">
                  <c:v>1016</c:v>
                </c:pt>
                <c:pt idx="137">
                  <c:v>1007</c:v>
                </c:pt>
                <c:pt idx="138">
                  <c:v>998</c:v>
                </c:pt>
                <c:pt idx="139">
                  <c:v>989</c:v>
                </c:pt>
                <c:pt idx="140">
                  <c:v>980</c:v>
                </c:pt>
                <c:pt idx="141">
                  <c:v>970</c:v>
                </c:pt>
                <c:pt idx="142">
                  <c:v>960</c:v>
                </c:pt>
                <c:pt idx="143">
                  <c:v>950</c:v>
                </c:pt>
                <c:pt idx="144">
                  <c:v>940</c:v>
                </c:pt>
                <c:pt idx="145">
                  <c:v>930</c:v>
                </c:pt>
                <c:pt idx="146">
                  <c:v>919</c:v>
                </c:pt>
                <c:pt idx="147">
                  <c:v>909</c:v>
                </c:pt>
                <c:pt idx="148">
                  <c:v>898</c:v>
                </c:pt>
                <c:pt idx="149">
                  <c:v>887</c:v>
                </c:pt>
                <c:pt idx="150">
                  <c:v>876</c:v>
                </c:pt>
                <c:pt idx="151">
                  <c:v>865</c:v>
                </c:pt>
                <c:pt idx="152">
                  <c:v>853</c:v>
                </c:pt>
                <c:pt idx="153">
                  <c:v>842</c:v>
                </c:pt>
                <c:pt idx="154">
                  <c:v>830</c:v>
                </c:pt>
                <c:pt idx="155">
                  <c:v>819</c:v>
                </c:pt>
                <c:pt idx="156">
                  <c:v>807</c:v>
                </c:pt>
                <c:pt idx="157">
                  <c:v>796</c:v>
                </c:pt>
                <c:pt idx="158">
                  <c:v>784</c:v>
                </c:pt>
                <c:pt idx="159">
                  <c:v>772</c:v>
                </c:pt>
                <c:pt idx="160">
                  <c:v>761</c:v>
                </c:pt>
                <c:pt idx="161">
                  <c:v>749</c:v>
                </c:pt>
                <c:pt idx="162">
                  <c:v>737</c:v>
                </c:pt>
                <c:pt idx="163">
                  <c:v>725</c:v>
                </c:pt>
                <c:pt idx="164">
                  <c:v>714</c:v>
                </c:pt>
                <c:pt idx="165">
                  <c:v>702</c:v>
                </c:pt>
                <c:pt idx="166">
                  <c:v>690</c:v>
                </c:pt>
                <c:pt idx="167">
                  <c:v>679</c:v>
                </c:pt>
                <c:pt idx="168">
                  <c:v>667</c:v>
                </c:pt>
                <c:pt idx="169">
                  <c:v>656</c:v>
                </c:pt>
                <c:pt idx="170">
                  <c:v>644</c:v>
                </c:pt>
                <c:pt idx="171">
                  <c:v>633</c:v>
                </c:pt>
                <c:pt idx="172">
                  <c:v>622</c:v>
                </c:pt>
                <c:pt idx="173">
                  <c:v>611</c:v>
                </c:pt>
                <c:pt idx="174">
                  <c:v>599</c:v>
                </c:pt>
                <c:pt idx="175">
                  <c:v>588</c:v>
                </c:pt>
                <c:pt idx="176">
                  <c:v>577</c:v>
                </c:pt>
                <c:pt idx="177">
                  <c:v>567</c:v>
                </c:pt>
                <c:pt idx="178">
                  <c:v>556</c:v>
                </c:pt>
                <c:pt idx="179">
                  <c:v>545</c:v>
                </c:pt>
                <c:pt idx="180">
                  <c:v>535</c:v>
                </c:pt>
                <c:pt idx="181">
                  <c:v>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91F-45CD-B420-168D9146621A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951</c:v>
                </c:pt>
                <c:pt idx="89">
                  <c:v>953</c:v>
                </c:pt>
                <c:pt idx="90">
                  <c:v>950</c:v>
                </c:pt>
                <c:pt idx="91">
                  <c:v>943</c:v>
                </c:pt>
                <c:pt idx="92">
                  <c:v>935</c:v>
                </c:pt>
                <c:pt idx="93">
                  <c:v>925</c:v>
                </c:pt>
                <c:pt idx="94">
                  <c:v>915</c:v>
                </c:pt>
                <c:pt idx="95">
                  <c:v>904</c:v>
                </c:pt>
                <c:pt idx="96">
                  <c:v>892</c:v>
                </c:pt>
                <c:pt idx="97">
                  <c:v>880</c:v>
                </c:pt>
                <c:pt idx="98">
                  <c:v>868</c:v>
                </c:pt>
                <c:pt idx="99">
                  <c:v>856</c:v>
                </c:pt>
                <c:pt idx="100">
                  <c:v>843</c:v>
                </c:pt>
                <c:pt idx="101">
                  <c:v>830</c:v>
                </c:pt>
                <c:pt idx="102">
                  <c:v>816</c:v>
                </c:pt>
                <c:pt idx="103">
                  <c:v>803</c:v>
                </c:pt>
                <c:pt idx="104">
                  <c:v>790</c:v>
                </c:pt>
                <c:pt idx="105">
                  <c:v>776</c:v>
                </c:pt>
                <c:pt idx="106">
                  <c:v>763</c:v>
                </c:pt>
                <c:pt idx="107">
                  <c:v>749</c:v>
                </c:pt>
                <c:pt idx="108">
                  <c:v>736</c:v>
                </c:pt>
                <c:pt idx="109">
                  <c:v>722</c:v>
                </c:pt>
                <c:pt idx="110">
                  <c:v>709</c:v>
                </c:pt>
                <c:pt idx="111">
                  <c:v>696</c:v>
                </c:pt>
                <c:pt idx="112">
                  <c:v>682</c:v>
                </c:pt>
                <c:pt idx="113">
                  <c:v>669</c:v>
                </c:pt>
                <c:pt idx="114">
                  <c:v>656</c:v>
                </c:pt>
                <c:pt idx="115">
                  <c:v>643</c:v>
                </c:pt>
                <c:pt idx="116">
                  <c:v>630</c:v>
                </c:pt>
                <c:pt idx="117">
                  <c:v>618</c:v>
                </c:pt>
                <c:pt idx="118">
                  <c:v>605</c:v>
                </c:pt>
                <c:pt idx="119">
                  <c:v>593</c:v>
                </c:pt>
                <c:pt idx="120">
                  <c:v>580</c:v>
                </c:pt>
                <c:pt idx="121">
                  <c:v>568</c:v>
                </c:pt>
                <c:pt idx="122">
                  <c:v>556</c:v>
                </c:pt>
                <c:pt idx="123">
                  <c:v>545</c:v>
                </c:pt>
                <c:pt idx="124">
                  <c:v>533</c:v>
                </c:pt>
                <c:pt idx="125">
                  <c:v>521</c:v>
                </c:pt>
                <c:pt idx="126">
                  <c:v>510</c:v>
                </c:pt>
                <c:pt idx="127">
                  <c:v>499</c:v>
                </c:pt>
                <c:pt idx="128">
                  <c:v>488</c:v>
                </c:pt>
                <c:pt idx="129">
                  <c:v>477</c:v>
                </c:pt>
                <c:pt idx="130">
                  <c:v>467</c:v>
                </c:pt>
                <c:pt idx="131">
                  <c:v>456</c:v>
                </c:pt>
                <c:pt idx="132">
                  <c:v>446</c:v>
                </c:pt>
                <c:pt idx="133">
                  <c:v>436</c:v>
                </c:pt>
                <c:pt idx="134">
                  <c:v>426</c:v>
                </c:pt>
                <c:pt idx="135">
                  <c:v>416</c:v>
                </c:pt>
                <c:pt idx="136">
                  <c:v>407</c:v>
                </c:pt>
                <c:pt idx="137">
                  <c:v>397</c:v>
                </c:pt>
                <c:pt idx="138">
                  <c:v>388</c:v>
                </c:pt>
                <c:pt idx="139">
                  <c:v>379</c:v>
                </c:pt>
                <c:pt idx="140">
                  <c:v>370</c:v>
                </c:pt>
                <c:pt idx="141">
                  <c:v>362</c:v>
                </c:pt>
                <c:pt idx="142">
                  <c:v>353</c:v>
                </c:pt>
                <c:pt idx="143">
                  <c:v>345</c:v>
                </c:pt>
                <c:pt idx="144">
                  <c:v>337</c:v>
                </c:pt>
                <c:pt idx="145">
                  <c:v>329</c:v>
                </c:pt>
                <c:pt idx="146">
                  <c:v>321</c:v>
                </c:pt>
                <c:pt idx="147">
                  <c:v>313</c:v>
                </c:pt>
                <c:pt idx="148">
                  <c:v>306</c:v>
                </c:pt>
                <c:pt idx="149">
                  <c:v>298</c:v>
                </c:pt>
                <c:pt idx="150">
                  <c:v>291</c:v>
                </c:pt>
                <c:pt idx="151">
                  <c:v>284</c:v>
                </c:pt>
                <c:pt idx="152">
                  <c:v>277</c:v>
                </c:pt>
                <c:pt idx="153">
                  <c:v>270</c:v>
                </c:pt>
                <c:pt idx="154">
                  <c:v>264</c:v>
                </c:pt>
                <c:pt idx="155">
                  <c:v>257</c:v>
                </c:pt>
                <c:pt idx="156">
                  <c:v>251</c:v>
                </c:pt>
                <c:pt idx="157">
                  <c:v>245</c:v>
                </c:pt>
                <c:pt idx="158">
                  <c:v>239</c:v>
                </c:pt>
                <c:pt idx="159">
                  <c:v>233</c:v>
                </c:pt>
                <c:pt idx="160">
                  <c:v>227</c:v>
                </c:pt>
                <c:pt idx="161">
                  <c:v>221</c:v>
                </c:pt>
                <c:pt idx="162">
                  <c:v>216</c:v>
                </c:pt>
                <c:pt idx="163">
                  <c:v>210</c:v>
                </c:pt>
                <c:pt idx="164">
                  <c:v>205</c:v>
                </c:pt>
                <c:pt idx="165">
                  <c:v>200</c:v>
                </c:pt>
                <c:pt idx="166">
                  <c:v>195</c:v>
                </c:pt>
                <c:pt idx="167">
                  <c:v>190</c:v>
                </c:pt>
                <c:pt idx="168">
                  <c:v>185</c:v>
                </c:pt>
                <c:pt idx="169">
                  <c:v>181</c:v>
                </c:pt>
                <c:pt idx="170">
                  <c:v>176</c:v>
                </c:pt>
                <c:pt idx="171">
                  <c:v>171</c:v>
                </c:pt>
                <c:pt idx="172">
                  <c:v>167</c:v>
                </c:pt>
                <c:pt idx="173">
                  <c:v>163</c:v>
                </c:pt>
                <c:pt idx="174">
                  <c:v>159</c:v>
                </c:pt>
                <c:pt idx="175">
                  <c:v>155</c:v>
                </c:pt>
                <c:pt idx="176">
                  <c:v>151</c:v>
                </c:pt>
                <c:pt idx="177">
                  <c:v>147</c:v>
                </c:pt>
                <c:pt idx="178">
                  <c:v>143</c:v>
                </c:pt>
                <c:pt idx="179">
                  <c:v>139</c:v>
                </c:pt>
                <c:pt idx="180">
                  <c:v>136</c:v>
                </c:pt>
                <c:pt idx="181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91F-45CD-B420-168D914662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678</c:v>
                </c:pt>
                <c:pt idx="1">
                  <c:v>676</c:v>
                </c:pt>
                <c:pt idx="2">
                  <c:v>649</c:v>
                </c:pt>
                <c:pt idx="3">
                  <c:v>620</c:v>
                </c:pt>
                <c:pt idx="4">
                  <c:v>382</c:v>
                </c:pt>
                <c:pt idx="5">
                  <c:v>196</c:v>
                </c:pt>
                <c:pt idx="6">
                  <c:v>573</c:v>
                </c:pt>
                <c:pt idx="7">
                  <c:v>945</c:v>
                </c:pt>
                <c:pt idx="8">
                  <c:v>729</c:v>
                </c:pt>
                <c:pt idx="9">
                  <c:v>762</c:v>
                </c:pt>
                <c:pt idx="10">
                  <c:v>924</c:v>
                </c:pt>
                <c:pt idx="11">
                  <c:v>534</c:v>
                </c:pt>
                <c:pt idx="12">
                  <c:v>307</c:v>
                </c:pt>
                <c:pt idx="13">
                  <c:v>775</c:v>
                </c:pt>
                <c:pt idx="14">
                  <c:v>1137</c:v>
                </c:pt>
                <c:pt idx="15">
                  <c:v>1292</c:v>
                </c:pt>
                <c:pt idx="16">
                  <c:v>1146</c:v>
                </c:pt>
                <c:pt idx="17">
                  <c:v>1344</c:v>
                </c:pt>
                <c:pt idx="18">
                  <c:v>833</c:v>
                </c:pt>
                <c:pt idx="19">
                  <c:v>766</c:v>
                </c:pt>
                <c:pt idx="20">
                  <c:v>1293</c:v>
                </c:pt>
                <c:pt idx="21">
                  <c:v>1629</c:v>
                </c:pt>
                <c:pt idx="22">
                  <c:v>1777</c:v>
                </c:pt>
                <c:pt idx="23">
                  <c:v>875</c:v>
                </c:pt>
                <c:pt idx="24">
                  <c:v>287</c:v>
                </c:pt>
                <c:pt idx="25">
                  <c:v>530</c:v>
                </c:pt>
                <c:pt idx="26">
                  <c:v>736</c:v>
                </c:pt>
                <c:pt idx="27">
                  <c:v>1796</c:v>
                </c:pt>
                <c:pt idx="28">
                  <c:v>2276</c:v>
                </c:pt>
                <c:pt idx="29">
                  <c:v>2541</c:v>
                </c:pt>
                <c:pt idx="30">
                  <c:v>1667</c:v>
                </c:pt>
                <c:pt idx="31">
                  <c:v>317</c:v>
                </c:pt>
                <c:pt idx="32">
                  <c:v>891</c:v>
                </c:pt>
                <c:pt idx="33">
                  <c:v>1197</c:v>
                </c:pt>
                <c:pt idx="34">
                  <c:v>2127</c:v>
                </c:pt>
                <c:pt idx="35">
                  <c:v>2406</c:v>
                </c:pt>
                <c:pt idx="36">
                  <c:v>2212</c:v>
                </c:pt>
                <c:pt idx="37">
                  <c:v>2212</c:v>
                </c:pt>
                <c:pt idx="38">
                  <c:v>1778</c:v>
                </c:pt>
                <c:pt idx="39">
                  <c:v>1286</c:v>
                </c:pt>
                <c:pt idx="40">
                  <c:v>724</c:v>
                </c:pt>
                <c:pt idx="41">
                  <c:v>1413</c:v>
                </c:pt>
                <c:pt idx="42">
                  <c:v>1493</c:v>
                </c:pt>
                <c:pt idx="43">
                  <c:v>1327</c:v>
                </c:pt>
                <c:pt idx="44">
                  <c:v>1002</c:v>
                </c:pt>
                <c:pt idx="45">
                  <c:v>1106</c:v>
                </c:pt>
                <c:pt idx="46">
                  <c:v>760</c:v>
                </c:pt>
                <c:pt idx="47">
                  <c:v>623</c:v>
                </c:pt>
                <c:pt idx="48">
                  <c:v>729</c:v>
                </c:pt>
                <c:pt idx="49">
                  <c:v>994</c:v>
                </c:pt>
                <c:pt idx="50">
                  <c:v>755</c:v>
                </c:pt>
                <c:pt idx="51">
                  <c:v>774</c:v>
                </c:pt>
                <c:pt idx="52">
                  <c:v>878</c:v>
                </c:pt>
                <c:pt idx="53">
                  <c:v>361</c:v>
                </c:pt>
                <c:pt idx="54">
                  <c:v>343</c:v>
                </c:pt>
                <c:pt idx="55">
                  <c:v>725</c:v>
                </c:pt>
                <c:pt idx="56">
                  <c:v>881</c:v>
                </c:pt>
                <c:pt idx="57">
                  <c:v>664</c:v>
                </c:pt>
                <c:pt idx="58">
                  <c:v>645</c:v>
                </c:pt>
                <c:pt idx="59">
                  <c:v>672</c:v>
                </c:pt>
                <c:pt idx="60">
                  <c:v>423</c:v>
                </c:pt>
                <c:pt idx="61">
                  <c:v>205</c:v>
                </c:pt>
                <c:pt idx="62">
                  <c:v>616</c:v>
                </c:pt>
                <c:pt idx="63">
                  <c:v>653</c:v>
                </c:pt>
                <c:pt idx="64">
                  <c:v>565</c:v>
                </c:pt>
                <c:pt idx="65">
                  <c:v>525</c:v>
                </c:pt>
                <c:pt idx="66">
                  <c:v>752</c:v>
                </c:pt>
                <c:pt idx="67">
                  <c:v>296</c:v>
                </c:pt>
                <c:pt idx="68">
                  <c:v>178</c:v>
                </c:pt>
                <c:pt idx="69">
                  <c:v>507</c:v>
                </c:pt>
                <c:pt idx="70">
                  <c:v>714</c:v>
                </c:pt>
                <c:pt idx="71">
                  <c:v>640</c:v>
                </c:pt>
                <c:pt idx="72">
                  <c:v>611</c:v>
                </c:pt>
                <c:pt idx="73">
                  <c:v>585</c:v>
                </c:pt>
                <c:pt idx="74">
                  <c:v>366</c:v>
                </c:pt>
                <c:pt idx="75">
                  <c:v>169</c:v>
                </c:pt>
                <c:pt idx="76">
                  <c:v>657</c:v>
                </c:pt>
                <c:pt idx="77">
                  <c:v>881</c:v>
                </c:pt>
                <c:pt idx="78">
                  <c:v>820</c:v>
                </c:pt>
                <c:pt idx="79">
                  <c:v>693</c:v>
                </c:pt>
                <c:pt idx="80">
                  <c:v>790</c:v>
                </c:pt>
                <c:pt idx="81">
                  <c:v>499</c:v>
                </c:pt>
                <c:pt idx="82">
                  <c:v>206</c:v>
                </c:pt>
                <c:pt idx="83">
                  <c:v>755</c:v>
                </c:pt>
                <c:pt idx="84">
                  <c:v>1210</c:v>
                </c:pt>
                <c:pt idx="85">
                  <c:v>985</c:v>
                </c:pt>
                <c:pt idx="86">
                  <c:v>1034</c:v>
                </c:pt>
                <c:pt idx="87">
                  <c:v>952</c:v>
                </c:pt>
                <c:pt idx="88">
                  <c:v>555</c:v>
                </c:pt>
                <c:pt idx="89">
                  <c:v>291</c:v>
                </c:pt>
                <c:pt idx="90">
                  <c:v>1030</c:v>
                </c:pt>
                <c:pt idx="91">
                  <c:v>1204</c:v>
                </c:pt>
                <c:pt idx="92">
                  <c:v>986</c:v>
                </c:pt>
                <c:pt idx="93">
                  <c:v>1022</c:v>
                </c:pt>
                <c:pt idx="94">
                  <c:v>823</c:v>
                </c:pt>
                <c:pt idx="95">
                  <c:v>674</c:v>
                </c:pt>
                <c:pt idx="96">
                  <c:v>255</c:v>
                </c:pt>
                <c:pt idx="97">
                  <c:v>959</c:v>
                </c:pt>
                <c:pt idx="98">
                  <c:v>1148</c:v>
                </c:pt>
                <c:pt idx="99">
                  <c:v>858</c:v>
                </c:pt>
                <c:pt idx="100">
                  <c:v>959</c:v>
                </c:pt>
                <c:pt idx="101">
                  <c:v>1013</c:v>
                </c:pt>
                <c:pt idx="102">
                  <c:v>467</c:v>
                </c:pt>
                <c:pt idx="103">
                  <c:v>165</c:v>
                </c:pt>
                <c:pt idx="104">
                  <c:v>1420</c:v>
                </c:pt>
                <c:pt idx="105">
                  <c:v>1049</c:v>
                </c:pt>
                <c:pt idx="106">
                  <c:v>1049</c:v>
                </c:pt>
                <c:pt idx="107">
                  <c:v>1003</c:v>
                </c:pt>
                <c:pt idx="108">
                  <c:v>762</c:v>
                </c:pt>
                <c:pt idx="109">
                  <c:v>452</c:v>
                </c:pt>
                <c:pt idx="110">
                  <c:v>224</c:v>
                </c:pt>
                <c:pt idx="111">
                  <c:v>883</c:v>
                </c:pt>
                <c:pt idx="112">
                  <c:v>1006</c:v>
                </c:pt>
                <c:pt idx="113">
                  <c:v>868</c:v>
                </c:pt>
                <c:pt idx="114">
                  <c:v>759</c:v>
                </c:pt>
                <c:pt idx="115">
                  <c:v>765</c:v>
                </c:pt>
                <c:pt idx="116">
                  <c:v>474</c:v>
                </c:pt>
                <c:pt idx="117">
                  <c:v>166</c:v>
                </c:pt>
                <c:pt idx="118">
                  <c:v>757</c:v>
                </c:pt>
                <c:pt idx="119">
                  <c:v>870</c:v>
                </c:pt>
                <c:pt idx="120">
                  <c:v>802</c:v>
                </c:pt>
                <c:pt idx="121">
                  <c:v>766</c:v>
                </c:pt>
                <c:pt idx="122">
                  <c:v>265</c:v>
                </c:pt>
                <c:pt idx="123">
                  <c:v>274</c:v>
                </c:pt>
                <c:pt idx="124">
                  <c:v>280</c:v>
                </c:pt>
                <c:pt idx="125">
                  <c:v>137</c:v>
                </c:pt>
                <c:pt idx="126">
                  <c:v>750</c:v>
                </c:pt>
                <c:pt idx="127">
                  <c:v>744</c:v>
                </c:pt>
                <c:pt idx="128">
                  <c:v>675</c:v>
                </c:pt>
                <c:pt idx="129">
                  <c:v>546</c:v>
                </c:pt>
                <c:pt idx="130">
                  <c:v>304</c:v>
                </c:pt>
                <c:pt idx="131">
                  <c:v>104</c:v>
                </c:pt>
                <c:pt idx="132">
                  <c:v>605</c:v>
                </c:pt>
                <c:pt idx="133">
                  <c:v>589</c:v>
                </c:pt>
                <c:pt idx="134">
                  <c:v>553</c:v>
                </c:pt>
                <c:pt idx="135">
                  <c:v>411</c:v>
                </c:pt>
                <c:pt idx="136">
                  <c:v>422</c:v>
                </c:pt>
                <c:pt idx="137">
                  <c:v>205</c:v>
                </c:pt>
                <c:pt idx="138">
                  <c:v>138</c:v>
                </c:pt>
                <c:pt idx="139">
                  <c:v>448</c:v>
                </c:pt>
                <c:pt idx="140">
                  <c:v>502</c:v>
                </c:pt>
                <c:pt idx="141">
                  <c:v>368</c:v>
                </c:pt>
                <c:pt idx="142">
                  <c:v>335</c:v>
                </c:pt>
                <c:pt idx="143">
                  <c:v>319</c:v>
                </c:pt>
                <c:pt idx="144">
                  <c:v>247</c:v>
                </c:pt>
                <c:pt idx="145">
                  <c:v>90</c:v>
                </c:pt>
                <c:pt idx="146">
                  <c:v>319</c:v>
                </c:pt>
                <c:pt idx="147">
                  <c:v>480</c:v>
                </c:pt>
                <c:pt idx="148">
                  <c:v>370</c:v>
                </c:pt>
                <c:pt idx="149">
                  <c:v>227</c:v>
                </c:pt>
                <c:pt idx="150">
                  <c:v>306</c:v>
                </c:pt>
                <c:pt idx="151">
                  <c:v>160</c:v>
                </c:pt>
                <c:pt idx="152">
                  <c:v>67</c:v>
                </c:pt>
                <c:pt idx="153">
                  <c:v>325</c:v>
                </c:pt>
                <c:pt idx="154">
                  <c:v>349</c:v>
                </c:pt>
                <c:pt idx="155">
                  <c:v>275</c:v>
                </c:pt>
                <c:pt idx="156">
                  <c:v>209</c:v>
                </c:pt>
                <c:pt idx="157">
                  <c:v>235</c:v>
                </c:pt>
                <c:pt idx="158">
                  <c:v>131</c:v>
                </c:pt>
                <c:pt idx="159">
                  <c:v>55</c:v>
                </c:pt>
                <c:pt idx="160">
                  <c:v>299</c:v>
                </c:pt>
                <c:pt idx="161">
                  <c:v>252</c:v>
                </c:pt>
                <c:pt idx="162">
                  <c:v>163</c:v>
                </c:pt>
                <c:pt idx="163">
                  <c:v>244</c:v>
                </c:pt>
                <c:pt idx="164">
                  <c:v>175</c:v>
                </c:pt>
                <c:pt idx="165">
                  <c:v>96</c:v>
                </c:pt>
                <c:pt idx="166">
                  <c:v>44</c:v>
                </c:pt>
                <c:pt idx="167">
                  <c:v>161</c:v>
                </c:pt>
                <c:pt idx="168">
                  <c:v>204</c:v>
                </c:pt>
                <c:pt idx="169">
                  <c:v>109</c:v>
                </c:pt>
                <c:pt idx="170">
                  <c:v>115</c:v>
                </c:pt>
                <c:pt idx="171">
                  <c:v>81</c:v>
                </c:pt>
                <c:pt idx="172">
                  <c:v>72</c:v>
                </c:pt>
                <c:pt idx="173">
                  <c:v>26</c:v>
                </c:pt>
                <c:pt idx="174">
                  <c:v>124</c:v>
                </c:pt>
                <c:pt idx="175">
                  <c:v>94</c:v>
                </c:pt>
                <c:pt idx="176">
                  <c:v>81</c:v>
                </c:pt>
                <c:pt idx="177">
                  <c:v>83</c:v>
                </c:pt>
                <c:pt idx="178">
                  <c:v>53</c:v>
                </c:pt>
                <c:pt idx="179">
                  <c:v>23</c:v>
                </c:pt>
                <c:pt idx="18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868</c:v>
                </c:pt>
                <c:pt idx="89">
                  <c:v>868</c:v>
                </c:pt>
                <c:pt idx="90">
                  <c:v>863</c:v>
                </c:pt>
                <c:pt idx="91">
                  <c:v>854</c:v>
                </c:pt>
                <c:pt idx="92">
                  <c:v>844</c:v>
                </c:pt>
                <c:pt idx="93">
                  <c:v>834</c:v>
                </c:pt>
                <c:pt idx="94">
                  <c:v>822</c:v>
                </c:pt>
                <c:pt idx="95">
                  <c:v>810</c:v>
                </c:pt>
                <c:pt idx="96">
                  <c:v>797</c:v>
                </c:pt>
                <c:pt idx="97">
                  <c:v>784</c:v>
                </c:pt>
                <c:pt idx="98">
                  <c:v>770</c:v>
                </c:pt>
                <c:pt idx="99">
                  <c:v>757</c:v>
                </c:pt>
                <c:pt idx="100">
                  <c:v>743</c:v>
                </c:pt>
                <c:pt idx="101">
                  <c:v>729</c:v>
                </c:pt>
                <c:pt idx="102">
                  <c:v>714</c:v>
                </c:pt>
                <c:pt idx="103">
                  <c:v>700</c:v>
                </c:pt>
                <c:pt idx="104">
                  <c:v>685</c:v>
                </c:pt>
                <c:pt idx="105">
                  <c:v>671</c:v>
                </c:pt>
                <c:pt idx="106">
                  <c:v>656</c:v>
                </c:pt>
                <c:pt idx="107">
                  <c:v>642</c:v>
                </c:pt>
                <c:pt idx="108">
                  <c:v>627</c:v>
                </c:pt>
                <c:pt idx="109">
                  <c:v>612</c:v>
                </c:pt>
                <c:pt idx="110">
                  <c:v>597</c:v>
                </c:pt>
                <c:pt idx="111">
                  <c:v>583</c:v>
                </c:pt>
                <c:pt idx="112">
                  <c:v>569</c:v>
                </c:pt>
                <c:pt idx="113">
                  <c:v>554</c:v>
                </c:pt>
                <c:pt idx="114">
                  <c:v>540</c:v>
                </c:pt>
                <c:pt idx="115">
                  <c:v>526</c:v>
                </c:pt>
                <c:pt idx="116">
                  <c:v>513</c:v>
                </c:pt>
                <c:pt idx="117">
                  <c:v>499</c:v>
                </c:pt>
                <c:pt idx="118">
                  <c:v>486</c:v>
                </c:pt>
                <c:pt idx="119">
                  <c:v>473</c:v>
                </c:pt>
                <c:pt idx="120">
                  <c:v>460</c:v>
                </c:pt>
                <c:pt idx="121">
                  <c:v>447</c:v>
                </c:pt>
                <c:pt idx="122">
                  <c:v>435</c:v>
                </c:pt>
                <c:pt idx="123">
                  <c:v>423</c:v>
                </c:pt>
                <c:pt idx="124">
                  <c:v>411</c:v>
                </c:pt>
                <c:pt idx="125">
                  <c:v>399</c:v>
                </c:pt>
                <c:pt idx="126">
                  <c:v>388</c:v>
                </c:pt>
                <c:pt idx="127">
                  <c:v>377</c:v>
                </c:pt>
                <c:pt idx="128">
                  <c:v>366</c:v>
                </c:pt>
                <c:pt idx="129">
                  <c:v>356</c:v>
                </c:pt>
                <c:pt idx="130">
                  <c:v>346</c:v>
                </c:pt>
                <c:pt idx="131">
                  <c:v>336</c:v>
                </c:pt>
                <c:pt idx="132">
                  <c:v>326</c:v>
                </c:pt>
                <c:pt idx="133">
                  <c:v>316</c:v>
                </c:pt>
                <c:pt idx="134">
                  <c:v>306</c:v>
                </c:pt>
                <c:pt idx="135">
                  <c:v>297</c:v>
                </c:pt>
                <c:pt idx="136">
                  <c:v>288</c:v>
                </c:pt>
                <c:pt idx="137">
                  <c:v>279</c:v>
                </c:pt>
                <c:pt idx="138">
                  <c:v>270</c:v>
                </c:pt>
                <c:pt idx="139">
                  <c:v>261</c:v>
                </c:pt>
                <c:pt idx="140">
                  <c:v>253</c:v>
                </c:pt>
                <c:pt idx="141">
                  <c:v>245</c:v>
                </c:pt>
                <c:pt idx="142">
                  <c:v>237</c:v>
                </c:pt>
                <c:pt idx="143">
                  <c:v>229</c:v>
                </c:pt>
                <c:pt idx="144">
                  <c:v>222</c:v>
                </c:pt>
                <c:pt idx="145">
                  <c:v>214</c:v>
                </c:pt>
                <c:pt idx="146">
                  <c:v>207</c:v>
                </c:pt>
                <c:pt idx="147">
                  <c:v>200</c:v>
                </c:pt>
                <c:pt idx="148">
                  <c:v>194</c:v>
                </c:pt>
                <c:pt idx="149">
                  <c:v>187</c:v>
                </c:pt>
                <c:pt idx="150">
                  <c:v>181</c:v>
                </c:pt>
                <c:pt idx="151">
                  <c:v>175</c:v>
                </c:pt>
                <c:pt idx="152">
                  <c:v>169</c:v>
                </c:pt>
                <c:pt idx="153">
                  <c:v>163</c:v>
                </c:pt>
                <c:pt idx="154">
                  <c:v>157</c:v>
                </c:pt>
                <c:pt idx="155">
                  <c:v>152</c:v>
                </c:pt>
                <c:pt idx="156">
                  <c:v>147</c:v>
                </c:pt>
                <c:pt idx="157">
                  <c:v>141</c:v>
                </c:pt>
                <c:pt idx="158">
                  <c:v>136</c:v>
                </c:pt>
                <c:pt idx="159">
                  <c:v>132</c:v>
                </c:pt>
                <c:pt idx="160">
                  <c:v>127</c:v>
                </c:pt>
                <c:pt idx="161">
                  <c:v>122</c:v>
                </c:pt>
                <c:pt idx="162">
                  <c:v>117</c:v>
                </c:pt>
                <c:pt idx="163">
                  <c:v>112</c:v>
                </c:pt>
                <c:pt idx="164">
                  <c:v>107</c:v>
                </c:pt>
                <c:pt idx="165">
                  <c:v>102</c:v>
                </c:pt>
                <c:pt idx="166">
                  <c:v>98</c:v>
                </c:pt>
                <c:pt idx="167">
                  <c:v>93</c:v>
                </c:pt>
                <c:pt idx="168">
                  <c:v>89</c:v>
                </c:pt>
                <c:pt idx="169">
                  <c:v>84</c:v>
                </c:pt>
                <c:pt idx="170">
                  <c:v>80</c:v>
                </c:pt>
                <c:pt idx="171">
                  <c:v>76</c:v>
                </c:pt>
                <c:pt idx="172">
                  <c:v>72</c:v>
                </c:pt>
                <c:pt idx="173">
                  <c:v>68</c:v>
                </c:pt>
                <c:pt idx="174">
                  <c:v>65</c:v>
                </c:pt>
                <c:pt idx="175">
                  <c:v>61</c:v>
                </c:pt>
                <c:pt idx="176">
                  <c:v>58</c:v>
                </c:pt>
                <c:pt idx="177">
                  <c:v>55</c:v>
                </c:pt>
                <c:pt idx="178">
                  <c:v>52</c:v>
                </c:pt>
                <c:pt idx="179">
                  <c:v>49</c:v>
                </c:pt>
                <c:pt idx="180">
                  <c:v>46</c:v>
                </c:pt>
                <c:pt idx="181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951</c:v>
                </c:pt>
                <c:pt idx="89">
                  <c:v>953</c:v>
                </c:pt>
                <c:pt idx="90">
                  <c:v>950</c:v>
                </c:pt>
                <c:pt idx="91">
                  <c:v>943</c:v>
                </c:pt>
                <c:pt idx="92">
                  <c:v>935</c:v>
                </c:pt>
                <c:pt idx="93">
                  <c:v>925</c:v>
                </c:pt>
                <c:pt idx="94">
                  <c:v>915</c:v>
                </c:pt>
                <c:pt idx="95">
                  <c:v>904</c:v>
                </c:pt>
                <c:pt idx="96">
                  <c:v>892</c:v>
                </c:pt>
                <c:pt idx="97">
                  <c:v>880</c:v>
                </c:pt>
                <c:pt idx="98">
                  <c:v>868</c:v>
                </c:pt>
                <c:pt idx="99">
                  <c:v>856</c:v>
                </c:pt>
                <c:pt idx="100">
                  <c:v>843</c:v>
                </c:pt>
                <c:pt idx="101">
                  <c:v>830</c:v>
                </c:pt>
                <c:pt idx="102">
                  <c:v>816</c:v>
                </c:pt>
                <c:pt idx="103">
                  <c:v>803</c:v>
                </c:pt>
                <c:pt idx="104">
                  <c:v>790</c:v>
                </c:pt>
                <c:pt idx="105">
                  <c:v>776</c:v>
                </c:pt>
                <c:pt idx="106">
                  <c:v>763</c:v>
                </c:pt>
                <c:pt idx="107">
                  <c:v>749</c:v>
                </c:pt>
                <c:pt idx="108">
                  <c:v>736</c:v>
                </c:pt>
                <c:pt idx="109">
                  <c:v>722</c:v>
                </c:pt>
                <c:pt idx="110">
                  <c:v>709</c:v>
                </c:pt>
                <c:pt idx="111">
                  <c:v>696</c:v>
                </c:pt>
                <c:pt idx="112">
                  <c:v>682</c:v>
                </c:pt>
                <c:pt idx="113">
                  <c:v>669</c:v>
                </c:pt>
                <c:pt idx="114">
                  <c:v>656</c:v>
                </c:pt>
                <c:pt idx="115">
                  <c:v>643</c:v>
                </c:pt>
                <c:pt idx="116">
                  <c:v>630</c:v>
                </c:pt>
                <c:pt idx="117">
                  <c:v>618</c:v>
                </c:pt>
                <c:pt idx="118">
                  <c:v>605</c:v>
                </c:pt>
                <c:pt idx="119">
                  <c:v>593</c:v>
                </c:pt>
                <c:pt idx="120">
                  <c:v>580</c:v>
                </c:pt>
                <c:pt idx="121">
                  <c:v>568</c:v>
                </c:pt>
                <c:pt idx="122">
                  <c:v>556</c:v>
                </c:pt>
                <c:pt idx="123">
                  <c:v>545</c:v>
                </c:pt>
                <c:pt idx="124">
                  <c:v>533</c:v>
                </c:pt>
                <c:pt idx="125">
                  <c:v>521</c:v>
                </c:pt>
                <c:pt idx="126">
                  <c:v>510</c:v>
                </c:pt>
                <c:pt idx="127">
                  <c:v>499</c:v>
                </c:pt>
                <c:pt idx="128">
                  <c:v>488</c:v>
                </c:pt>
                <c:pt idx="129">
                  <c:v>477</c:v>
                </c:pt>
                <c:pt idx="130">
                  <c:v>467</c:v>
                </c:pt>
                <c:pt idx="131">
                  <c:v>456</c:v>
                </c:pt>
                <c:pt idx="132">
                  <c:v>446</c:v>
                </c:pt>
                <c:pt idx="133">
                  <c:v>436</c:v>
                </c:pt>
                <c:pt idx="134">
                  <c:v>426</c:v>
                </c:pt>
                <c:pt idx="135">
                  <c:v>416</c:v>
                </c:pt>
                <c:pt idx="136">
                  <c:v>407</c:v>
                </c:pt>
                <c:pt idx="137">
                  <c:v>397</c:v>
                </c:pt>
                <c:pt idx="138">
                  <c:v>388</c:v>
                </c:pt>
                <c:pt idx="139">
                  <c:v>379</c:v>
                </c:pt>
                <c:pt idx="140">
                  <c:v>370</c:v>
                </c:pt>
                <c:pt idx="141">
                  <c:v>362</c:v>
                </c:pt>
                <c:pt idx="142">
                  <c:v>353</c:v>
                </c:pt>
                <c:pt idx="143">
                  <c:v>345</c:v>
                </c:pt>
                <c:pt idx="144">
                  <c:v>337</c:v>
                </c:pt>
                <c:pt idx="145">
                  <c:v>329</c:v>
                </c:pt>
                <c:pt idx="146">
                  <c:v>321</c:v>
                </c:pt>
                <c:pt idx="147">
                  <c:v>313</c:v>
                </c:pt>
                <c:pt idx="148">
                  <c:v>306</c:v>
                </c:pt>
                <c:pt idx="149">
                  <c:v>298</c:v>
                </c:pt>
                <c:pt idx="150">
                  <c:v>291</c:v>
                </c:pt>
                <c:pt idx="151">
                  <c:v>284</c:v>
                </c:pt>
                <c:pt idx="152">
                  <c:v>277</c:v>
                </c:pt>
                <c:pt idx="153">
                  <c:v>270</c:v>
                </c:pt>
                <c:pt idx="154">
                  <c:v>264</c:v>
                </c:pt>
                <c:pt idx="155">
                  <c:v>257</c:v>
                </c:pt>
                <c:pt idx="156">
                  <c:v>251</c:v>
                </c:pt>
                <c:pt idx="157">
                  <c:v>245</c:v>
                </c:pt>
                <c:pt idx="158">
                  <c:v>239</c:v>
                </c:pt>
                <c:pt idx="159">
                  <c:v>233</c:v>
                </c:pt>
                <c:pt idx="160">
                  <c:v>227</c:v>
                </c:pt>
                <c:pt idx="161">
                  <c:v>221</c:v>
                </c:pt>
                <c:pt idx="162">
                  <c:v>216</c:v>
                </c:pt>
                <c:pt idx="163">
                  <c:v>210</c:v>
                </c:pt>
                <c:pt idx="164">
                  <c:v>205</c:v>
                </c:pt>
                <c:pt idx="165">
                  <c:v>200</c:v>
                </c:pt>
                <c:pt idx="166">
                  <c:v>195</c:v>
                </c:pt>
                <c:pt idx="167">
                  <c:v>190</c:v>
                </c:pt>
                <c:pt idx="168">
                  <c:v>185</c:v>
                </c:pt>
                <c:pt idx="169">
                  <c:v>181</c:v>
                </c:pt>
                <c:pt idx="170">
                  <c:v>176</c:v>
                </c:pt>
                <c:pt idx="171">
                  <c:v>171</c:v>
                </c:pt>
                <c:pt idx="172">
                  <c:v>167</c:v>
                </c:pt>
                <c:pt idx="173">
                  <c:v>163</c:v>
                </c:pt>
                <c:pt idx="174">
                  <c:v>159</c:v>
                </c:pt>
                <c:pt idx="175">
                  <c:v>155</c:v>
                </c:pt>
                <c:pt idx="176">
                  <c:v>151</c:v>
                </c:pt>
                <c:pt idx="177">
                  <c:v>147</c:v>
                </c:pt>
                <c:pt idx="178">
                  <c:v>143</c:v>
                </c:pt>
                <c:pt idx="179">
                  <c:v>139</c:v>
                </c:pt>
                <c:pt idx="180">
                  <c:v>136</c:v>
                </c:pt>
                <c:pt idx="181">
                  <c:v>1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678</c:v>
                </c:pt>
                <c:pt idx="1">
                  <c:v>676</c:v>
                </c:pt>
                <c:pt idx="2">
                  <c:v>649</c:v>
                </c:pt>
                <c:pt idx="3">
                  <c:v>620</c:v>
                </c:pt>
                <c:pt idx="4">
                  <c:v>382</c:v>
                </c:pt>
                <c:pt idx="5">
                  <c:v>196</c:v>
                </c:pt>
                <c:pt idx="6">
                  <c:v>573</c:v>
                </c:pt>
                <c:pt idx="7">
                  <c:v>945</c:v>
                </c:pt>
                <c:pt idx="8">
                  <c:v>729</c:v>
                </c:pt>
                <c:pt idx="9">
                  <c:v>762</c:v>
                </c:pt>
                <c:pt idx="10">
                  <c:v>924</c:v>
                </c:pt>
                <c:pt idx="11">
                  <c:v>534</c:v>
                </c:pt>
                <c:pt idx="12">
                  <c:v>307</c:v>
                </c:pt>
                <c:pt idx="13">
                  <c:v>775</c:v>
                </c:pt>
                <c:pt idx="14">
                  <c:v>1137</c:v>
                </c:pt>
                <c:pt idx="15">
                  <c:v>1292</c:v>
                </c:pt>
                <c:pt idx="16">
                  <c:v>1146</c:v>
                </c:pt>
                <c:pt idx="17">
                  <c:v>1344</c:v>
                </c:pt>
                <c:pt idx="18">
                  <c:v>833</c:v>
                </c:pt>
                <c:pt idx="19">
                  <c:v>766</c:v>
                </c:pt>
                <c:pt idx="20">
                  <c:v>1293</c:v>
                </c:pt>
                <c:pt idx="21">
                  <c:v>1629</c:v>
                </c:pt>
                <c:pt idx="22">
                  <c:v>1777</c:v>
                </c:pt>
                <c:pt idx="23">
                  <c:v>875</c:v>
                </c:pt>
                <c:pt idx="24">
                  <c:v>287</c:v>
                </c:pt>
                <c:pt idx="25">
                  <c:v>530</c:v>
                </c:pt>
                <c:pt idx="26">
                  <c:v>736</c:v>
                </c:pt>
                <c:pt idx="27">
                  <c:v>1796</c:v>
                </c:pt>
                <c:pt idx="28">
                  <c:v>2276</c:v>
                </c:pt>
                <c:pt idx="29">
                  <c:v>2541</c:v>
                </c:pt>
                <c:pt idx="30">
                  <c:v>1667</c:v>
                </c:pt>
                <c:pt idx="31">
                  <c:v>317</c:v>
                </c:pt>
                <c:pt idx="32">
                  <c:v>891</c:v>
                </c:pt>
                <c:pt idx="33">
                  <c:v>1197</c:v>
                </c:pt>
                <c:pt idx="34">
                  <c:v>2127</c:v>
                </c:pt>
                <c:pt idx="35">
                  <c:v>2406</c:v>
                </c:pt>
                <c:pt idx="36">
                  <c:v>2212</c:v>
                </c:pt>
                <c:pt idx="37">
                  <c:v>2212</c:v>
                </c:pt>
                <c:pt idx="38">
                  <c:v>1778</c:v>
                </c:pt>
                <c:pt idx="39">
                  <c:v>1286</c:v>
                </c:pt>
                <c:pt idx="40">
                  <c:v>724</c:v>
                </c:pt>
                <c:pt idx="41">
                  <c:v>1413</c:v>
                </c:pt>
                <c:pt idx="42">
                  <c:v>1493</c:v>
                </c:pt>
                <c:pt idx="43">
                  <c:v>1327</c:v>
                </c:pt>
                <c:pt idx="44">
                  <c:v>1002</c:v>
                </c:pt>
                <c:pt idx="45">
                  <c:v>1106</c:v>
                </c:pt>
                <c:pt idx="46">
                  <c:v>760</c:v>
                </c:pt>
                <c:pt idx="47">
                  <c:v>623</c:v>
                </c:pt>
                <c:pt idx="48">
                  <c:v>729</c:v>
                </c:pt>
                <c:pt idx="49">
                  <c:v>994</c:v>
                </c:pt>
                <c:pt idx="50">
                  <c:v>755</c:v>
                </c:pt>
                <c:pt idx="51">
                  <c:v>774</c:v>
                </c:pt>
                <c:pt idx="52">
                  <c:v>878</c:v>
                </c:pt>
                <c:pt idx="53">
                  <c:v>361</c:v>
                </c:pt>
                <c:pt idx="54">
                  <c:v>343</c:v>
                </c:pt>
                <c:pt idx="55">
                  <c:v>725</c:v>
                </c:pt>
                <c:pt idx="56">
                  <c:v>881</c:v>
                </c:pt>
                <c:pt idx="57">
                  <c:v>664</c:v>
                </c:pt>
                <c:pt idx="58">
                  <c:v>645</c:v>
                </c:pt>
                <c:pt idx="59">
                  <c:v>672</c:v>
                </c:pt>
                <c:pt idx="60">
                  <c:v>423</c:v>
                </c:pt>
                <c:pt idx="61">
                  <c:v>205</c:v>
                </c:pt>
                <c:pt idx="62">
                  <c:v>616</c:v>
                </c:pt>
                <c:pt idx="63">
                  <c:v>653</c:v>
                </c:pt>
                <c:pt idx="64">
                  <c:v>565</c:v>
                </c:pt>
                <c:pt idx="65">
                  <c:v>525</c:v>
                </c:pt>
                <c:pt idx="66">
                  <c:v>752</c:v>
                </c:pt>
                <c:pt idx="67">
                  <c:v>296</c:v>
                </c:pt>
                <c:pt idx="68">
                  <c:v>178</c:v>
                </c:pt>
                <c:pt idx="69">
                  <c:v>507</c:v>
                </c:pt>
                <c:pt idx="70">
                  <c:v>714</c:v>
                </c:pt>
                <c:pt idx="71">
                  <c:v>640</c:v>
                </c:pt>
                <c:pt idx="72">
                  <c:v>611</c:v>
                </c:pt>
                <c:pt idx="73">
                  <c:v>585</c:v>
                </c:pt>
                <c:pt idx="74">
                  <c:v>366</c:v>
                </c:pt>
                <c:pt idx="75">
                  <c:v>169</c:v>
                </c:pt>
                <c:pt idx="76">
                  <c:v>657</c:v>
                </c:pt>
                <c:pt idx="77">
                  <c:v>881</c:v>
                </c:pt>
                <c:pt idx="78">
                  <c:v>820</c:v>
                </c:pt>
                <c:pt idx="79">
                  <c:v>693</c:v>
                </c:pt>
                <c:pt idx="80">
                  <c:v>790</c:v>
                </c:pt>
                <c:pt idx="81">
                  <c:v>499</c:v>
                </c:pt>
                <c:pt idx="82">
                  <c:v>206</c:v>
                </c:pt>
                <c:pt idx="83">
                  <c:v>755</c:v>
                </c:pt>
                <c:pt idx="84">
                  <c:v>1210</c:v>
                </c:pt>
                <c:pt idx="85">
                  <c:v>985</c:v>
                </c:pt>
                <c:pt idx="86">
                  <c:v>1034</c:v>
                </c:pt>
                <c:pt idx="87">
                  <c:v>952</c:v>
                </c:pt>
                <c:pt idx="88">
                  <c:v>555</c:v>
                </c:pt>
                <c:pt idx="89">
                  <c:v>291</c:v>
                </c:pt>
                <c:pt idx="90">
                  <c:v>1030</c:v>
                </c:pt>
                <c:pt idx="91">
                  <c:v>1204</c:v>
                </c:pt>
                <c:pt idx="92">
                  <c:v>986</c:v>
                </c:pt>
                <c:pt idx="93">
                  <c:v>1022</c:v>
                </c:pt>
                <c:pt idx="94">
                  <c:v>823</c:v>
                </c:pt>
                <c:pt idx="95">
                  <c:v>674</c:v>
                </c:pt>
                <c:pt idx="96">
                  <c:v>255</c:v>
                </c:pt>
                <c:pt idx="97">
                  <c:v>959</c:v>
                </c:pt>
                <c:pt idx="98">
                  <c:v>1148</c:v>
                </c:pt>
                <c:pt idx="99">
                  <c:v>858</c:v>
                </c:pt>
                <c:pt idx="100">
                  <c:v>959</c:v>
                </c:pt>
                <c:pt idx="101">
                  <c:v>1013</c:v>
                </c:pt>
                <c:pt idx="102">
                  <c:v>467</c:v>
                </c:pt>
                <c:pt idx="103">
                  <c:v>165</c:v>
                </c:pt>
                <c:pt idx="104">
                  <c:v>1420</c:v>
                </c:pt>
                <c:pt idx="105">
                  <c:v>1049</c:v>
                </c:pt>
                <c:pt idx="106">
                  <c:v>1049</c:v>
                </c:pt>
                <c:pt idx="107">
                  <c:v>1003</c:v>
                </c:pt>
                <c:pt idx="108">
                  <c:v>762</c:v>
                </c:pt>
                <c:pt idx="109">
                  <c:v>452</c:v>
                </c:pt>
                <c:pt idx="110">
                  <c:v>224</c:v>
                </c:pt>
                <c:pt idx="111">
                  <c:v>883</c:v>
                </c:pt>
                <c:pt idx="112">
                  <c:v>1006</c:v>
                </c:pt>
                <c:pt idx="113">
                  <c:v>868</c:v>
                </c:pt>
                <c:pt idx="114">
                  <c:v>759</c:v>
                </c:pt>
                <c:pt idx="115">
                  <c:v>765</c:v>
                </c:pt>
                <c:pt idx="116">
                  <c:v>474</c:v>
                </c:pt>
                <c:pt idx="117">
                  <c:v>166</c:v>
                </c:pt>
                <c:pt idx="118">
                  <c:v>757</c:v>
                </c:pt>
                <c:pt idx="119">
                  <c:v>870</c:v>
                </c:pt>
                <c:pt idx="120">
                  <c:v>802</c:v>
                </c:pt>
                <c:pt idx="121">
                  <c:v>766</c:v>
                </c:pt>
                <c:pt idx="122">
                  <c:v>265</c:v>
                </c:pt>
                <c:pt idx="123">
                  <c:v>274</c:v>
                </c:pt>
                <c:pt idx="124">
                  <c:v>280</c:v>
                </c:pt>
                <c:pt idx="125">
                  <c:v>137</c:v>
                </c:pt>
                <c:pt idx="126">
                  <c:v>750</c:v>
                </c:pt>
                <c:pt idx="127">
                  <c:v>744</c:v>
                </c:pt>
                <c:pt idx="128">
                  <c:v>675</c:v>
                </c:pt>
                <c:pt idx="129">
                  <c:v>546</c:v>
                </c:pt>
                <c:pt idx="130">
                  <c:v>304</c:v>
                </c:pt>
                <c:pt idx="131">
                  <c:v>104</c:v>
                </c:pt>
                <c:pt idx="132">
                  <c:v>605</c:v>
                </c:pt>
                <c:pt idx="133">
                  <c:v>589</c:v>
                </c:pt>
                <c:pt idx="134">
                  <c:v>553</c:v>
                </c:pt>
                <c:pt idx="135">
                  <c:v>411</c:v>
                </c:pt>
                <c:pt idx="136">
                  <c:v>422</c:v>
                </c:pt>
                <c:pt idx="137">
                  <c:v>205</c:v>
                </c:pt>
                <c:pt idx="138">
                  <c:v>138</c:v>
                </c:pt>
                <c:pt idx="139">
                  <c:v>448</c:v>
                </c:pt>
                <c:pt idx="140">
                  <c:v>502</c:v>
                </c:pt>
                <c:pt idx="141">
                  <c:v>368</c:v>
                </c:pt>
                <c:pt idx="142">
                  <c:v>335</c:v>
                </c:pt>
                <c:pt idx="143">
                  <c:v>319</c:v>
                </c:pt>
                <c:pt idx="144">
                  <c:v>247</c:v>
                </c:pt>
                <c:pt idx="145">
                  <c:v>90</c:v>
                </c:pt>
                <c:pt idx="146">
                  <c:v>319</c:v>
                </c:pt>
                <c:pt idx="147">
                  <c:v>480</c:v>
                </c:pt>
                <c:pt idx="148">
                  <c:v>370</c:v>
                </c:pt>
                <c:pt idx="149">
                  <c:v>227</c:v>
                </c:pt>
                <c:pt idx="150">
                  <c:v>306</c:v>
                </c:pt>
                <c:pt idx="151">
                  <c:v>160</c:v>
                </c:pt>
                <c:pt idx="152">
                  <c:v>67</c:v>
                </c:pt>
                <c:pt idx="153">
                  <c:v>325</c:v>
                </c:pt>
                <c:pt idx="154">
                  <c:v>349</c:v>
                </c:pt>
                <c:pt idx="155">
                  <c:v>275</c:v>
                </c:pt>
                <c:pt idx="156">
                  <c:v>209</c:v>
                </c:pt>
                <c:pt idx="157">
                  <c:v>235</c:v>
                </c:pt>
                <c:pt idx="158">
                  <c:v>131</c:v>
                </c:pt>
                <c:pt idx="159">
                  <c:v>55</c:v>
                </c:pt>
                <c:pt idx="160">
                  <c:v>299</c:v>
                </c:pt>
                <c:pt idx="161">
                  <c:v>252</c:v>
                </c:pt>
                <c:pt idx="162">
                  <c:v>163</c:v>
                </c:pt>
                <c:pt idx="163">
                  <c:v>244</c:v>
                </c:pt>
                <c:pt idx="164">
                  <c:v>175</c:v>
                </c:pt>
                <c:pt idx="165">
                  <c:v>96</c:v>
                </c:pt>
                <c:pt idx="166">
                  <c:v>44</c:v>
                </c:pt>
                <c:pt idx="167">
                  <c:v>161</c:v>
                </c:pt>
                <c:pt idx="168">
                  <c:v>204</c:v>
                </c:pt>
                <c:pt idx="169">
                  <c:v>109</c:v>
                </c:pt>
                <c:pt idx="170">
                  <c:v>115</c:v>
                </c:pt>
                <c:pt idx="171">
                  <c:v>81</c:v>
                </c:pt>
                <c:pt idx="172">
                  <c:v>72</c:v>
                </c:pt>
                <c:pt idx="173">
                  <c:v>26</c:v>
                </c:pt>
                <c:pt idx="174">
                  <c:v>124</c:v>
                </c:pt>
                <c:pt idx="175">
                  <c:v>94</c:v>
                </c:pt>
                <c:pt idx="176">
                  <c:v>81</c:v>
                </c:pt>
                <c:pt idx="177">
                  <c:v>83</c:v>
                </c:pt>
                <c:pt idx="178">
                  <c:v>53</c:v>
                </c:pt>
                <c:pt idx="179">
                  <c:v>23</c:v>
                </c:pt>
                <c:pt idx="18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C4-4C0D-AAF3-54715CB457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2</c:v>
                </c:pt>
                <c:pt idx="169">
                  <c:v>194</c:v>
                </c:pt>
                <c:pt idx="170">
                  <c:v>185</c:v>
                </c:pt>
                <c:pt idx="171">
                  <c:v>177</c:v>
                </c:pt>
                <c:pt idx="172">
                  <c:v>169</c:v>
                </c:pt>
                <c:pt idx="173">
                  <c:v>161</c:v>
                </c:pt>
                <c:pt idx="174">
                  <c:v>153</c:v>
                </c:pt>
                <c:pt idx="175">
                  <c:v>145</c:v>
                </c:pt>
                <c:pt idx="176">
                  <c:v>138</c:v>
                </c:pt>
                <c:pt idx="177">
                  <c:v>131</c:v>
                </c:pt>
                <c:pt idx="178">
                  <c:v>124</c:v>
                </c:pt>
                <c:pt idx="179">
                  <c:v>117</c:v>
                </c:pt>
                <c:pt idx="180">
                  <c:v>111</c:v>
                </c:pt>
                <c:pt idx="181">
                  <c:v>104</c:v>
                </c:pt>
                <c:pt idx="182">
                  <c:v>98</c:v>
                </c:pt>
                <c:pt idx="183">
                  <c:v>93</c:v>
                </c:pt>
                <c:pt idx="184">
                  <c:v>87</c:v>
                </c:pt>
                <c:pt idx="185">
                  <c:v>82</c:v>
                </c:pt>
                <c:pt idx="186">
                  <c:v>78</c:v>
                </c:pt>
                <c:pt idx="187">
                  <c:v>73</c:v>
                </c:pt>
                <c:pt idx="188">
                  <c:v>69</c:v>
                </c:pt>
                <c:pt idx="189">
                  <c:v>65</c:v>
                </c:pt>
                <c:pt idx="190">
                  <c:v>61</c:v>
                </c:pt>
                <c:pt idx="191">
                  <c:v>58</c:v>
                </c:pt>
                <c:pt idx="192">
                  <c:v>54</c:v>
                </c:pt>
                <c:pt idx="193">
                  <c:v>51</c:v>
                </c:pt>
                <c:pt idx="194">
                  <c:v>48</c:v>
                </c:pt>
                <c:pt idx="195">
                  <c:v>45</c:v>
                </c:pt>
                <c:pt idx="196">
                  <c:v>42</c:v>
                </c:pt>
                <c:pt idx="197">
                  <c:v>40</c:v>
                </c:pt>
                <c:pt idx="198">
                  <c:v>37</c:v>
                </c:pt>
                <c:pt idx="199">
                  <c:v>35</c:v>
                </c:pt>
                <c:pt idx="200">
                  <c:v>33</c:v>
                </c:pt>
                <c:pt idx="201">
                  <c:v>31</c:v>
                </c:pt>
                <c:pt idx="202">
                  <c:v>29</c:v>
                </c:pt>
                <c:pt idx="203">
                  <c:v>27</c:v>
                </c:pt>
                <c:pt idx="204">
                  <c:v>25</c:v>
                </c:pt>
                <c:pt idx="205">
                  <c:v>23</c:v>
                </c:pt>
                <c:pt idx="206">
                  <c:v>22</c:v>
                </c:pt>
                <c:pt idx="207">
                  <c:v>20</c:v>
                </c:pt>
                <c:pt idx="208">
                  <c:v>19</c:v>
                </c:pt>
                <c:pt idx="209">
                  <c:v>18</c:v>
                </c:pt>
                <c:pt idx="210">
                  <c:v>16</c:v>
                </c:pt>
                <c:pt idx="211">
                  <c:v>15</c:v>
                </c:pt>
                <c:pt idx="212">
                  <c:v>14</c:v>
                </c:pt>
                <c:pt idx="213">
                  <c:v>13</c:v>
                </c:pt>
                <c:pt idx="214">
                  <c:v>12</c:v>
                </c:pt>
                <c:pt idx="215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C4-4C0D-AAF3-54715CB457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7</c:v>
                </c:pt>
                <c:pt idx="169">
                  <c:v>205</c:v>
                </c:pt>
                <c:pt idx="170">
                  <c:v>204</c:v>
                </c:pt>
                <c:pt idx="171">
                  <c:v>203</c:v>
                </c:pt>
                <c:pt idx="172">
                  <c:v>203</c:v>
                </c:pt>
                <c:pt idx="173">
                  <c:v>202</c:v>
                </c:pt>
                <c:pt idx="174">
                  <c:v>202</c:v>
                </c:pt>
                <c:pt idx="175">
                  <c:v>204</c:v>
                </c:pt>
                <c:pt idx="176">
                  <c:v>209</c:v>
                </c:pt>
                <c:pt idx="177">
                  <c:v>214</c:v>
                </c:pt>
                <c:pt idx="178">
                  <c:v>219</c:v>
                </c:pt>
                <c:pt idx="179">
                  <c:v>225</c:v>
                </c:pt>
                <c:pt idx="180">
                  <c:v>230</c:v>
                </c:pt>
                <c:pt idx="181">
                  <c:v>236</c:v>
                </c:pt>
                <c:pt idx="182">
                  <c:v>241</c:v>
                </c:pt>
                <c:pt idx="183">
                  <c:v>247</c:v>
                </c:pt>
                <c:pt idx="184">
                  <c:v>253</c:v>
                </c:pt>
                <c:pt idx="185">
                  <c:v>259</c:v>
                </c:pt>
                <c:pt idx="186">
                  <c:v>264</c:v>
                </c:pt>
                <c:pt idx="187">
                  <c:v>270</c:v>
                </c:pt>
                <c:pt idx="188">
                  <c:v>277</c:v>
                </c:pt>
                <c:pt idx="189">
                  <c:v>283</c:v>
                </c:pt>
                <c:pt idx="190">
                  <c:v>290</c:v>
                </c:pt>
                <c:pt idx="191">
                  <c:v>296</c:v>
                </c:pt>
                <c:pt idx="192">
                  <c:v>303</c:v>
                </c:pt>
                <c:pt idx="193">
                  <c:v>309</c:v>
                </c:pt>
                <c:pt idx="194">
                  <c:v>315</c:v>
                </c:pt>
                <c:pt idx="195">
                  <c:v>321</c:v>
                </c:pt>
                <c:pt idx="196">
                  <c:v>327</c:v>
                </c:pt>
                <c:pt idx="197">
                  <c:v>333</c:v>
                </c:pt>
                <c:pt idx="198">
                  <c:v>338</c:v>
                </c:pt>
                <c:pt idx="199">
                  <c:v>342</c:v>
                </c:pt>
                <c:pt idx="200">
                  <c:v>347</c:v>
                </c:pt>
                <c:pt idx="201">
                  <c:v>350</c:v>
                </c:pt>
                <c:pt idx="202">
                  <c:v>354</c:v>
                </c:pt>
                <c:pt idx="203">
                  <c:v>357</c:v>
                </c:pt>
                <c:pt idx="204">
                  <c:v>359</c:v>
                </c:pt>
                <c:pt idx="205">
                  <c:v>361</c:v>
                </c:pt>
                <c:pt idx="206">
                  <c:v>362</c:v>
                </c:pt>
                <c:pt idx="207">
                  <c:v>363</c:v>
                </c:pt>
                <c:pt idx="208">
                  <c:v>363</c:v>
                </c:pt>
                <c:pt idx="209">
                  <c:v>363</c:v>
                </c:pt>
                <c:pt idx="210">
                  <c:v>362</c:v>
                </c:pt>
                <c:pt idx="211">
                  <c:v>361</c:v>
                </c:pt>
                <c:pt idx="212">
                  <c:v>359</c:v>
                </c:pt>
                <c:pt idx="213">
                  <c:v>356</c:v>
                </c:pt>
                <c:pt idx="214">
                  <c:v>353</c:v>
                </c:pt>
                <c:pt idx="215">
                  <c:v>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C4-4C0D-AAF3-54715CB457A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C4-4C0D-AAF3-54715CB457A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400</c:v>
                </c:pt>
                <c:pt idx="1">
                  <c:v>398</c:v>
                </c:pt>
                <c:pt idx="2">
                  <c:v>499</c:v>
                </c:pt>
                <c:pt idx="3">
                  <c:v>411</c:v>
                </c:pt>
                <c:pt idx="4">
                  <c:v>355</c:v>
                </c:pt>
                <c:pt idx="5">
                  <c:v>144</c:v>
                </c:pt>
                <c:pt idx="6">
                  <c:v>333</c:v>
                </c:pt>
                <c:pt idx="7">
                  <c:v>550</c:v>
                </c:pt>
                <c:pt idx="8">
                  <c:v>525</c:v>
                </c:pt>
                <c:pt idx="9">
                  <c:v>571</c:v>
                </c:pt>
                <c:pt idx="10">
                  <c:v>512</c:v>
                </c:pt>
                <c:pt idx="11">
                  <c:v>403</c:v>
                </c:pt>
                <c:pt idx="12">
                  <c:v>235</c:v>
                </c:pt>
                <c:pt idx="13">
                  <c:v>446</c:v>
                </c:pt>
                <c:pt idx="14">
                  <c:v>860</c:v>
                </c:pt>
                <c:pt idx="15">
                  <c:v>774</c:v>
                </c:pt>
                <c:pt idx="16">
                  <c:v>857</c:v>
                </c:pt>
                <c:pt idx="17">
                  <c:v>852</c:v>
                </c:pt>
                <c:pt idx="18">
                  <c:v>811</c:v>
                </c:pt>
                <c:pt idx="19">
                  <c:v>431</c:v>
                </c:pt>
                <c:pt idx="20">
                  <c:v>787</c:v>
                </c:pt>
                <c:pt idx="21">
                  <c:v>1194</c:v>
                </c:pt>
                <c:pt idx="22">
                  <c:v>1461</c:v>
                </c:pt>
                <c:pt idx="23">
                  <c:v>779</c:v>
                </c:pt>
                <c:pt idx="24">
                  <c:v>331</c:v>
                </c:pt>
                <c:pt idx="25">
                  <c:v>313</c:v>
                </c:pt>
                <c:pt idx="26">
                  <c:v>587</c:v>
                </c:pt>
                <c:pt idx="27">
                  <c:v>1333</c:v>
                </c:pt>
                <c:pt idx="28">
                  <c:v>2021</c:v>
                </c:pt>
                <c:pt idx="29">
                  <c:v>1882</c:v>
                </c:pt>
                <c:pt idx="30">
                  <c:v>1769</c:v>
                </c:pt>
                <c:pt idx="31">
                  <c:v>394</c:v>
                </c:pt>
                <c:pt idx="32">
                  <c:v>567</c:v>
                </c:pt>
                <c:pt idx="33">
                  <c:v>849</c:v>
                </c:pt>
                <c:pt idx="34">
                  <c:v>1263</c:v>
                </c:pt>
                <c:pt idx="35">
                  <c:v>2064</c:v>
                </c:pt>
                <c:pt idx="36">
                  <c:v>1797</c:v>
                </c:pt>
                <c:pt idx="37">
                  <c:v>1404</c:v>
                </c:pt>
                <c:pt idx="38">
                  <c:v>1261</c:v>
                </c:pt>
                <c:pt idx="39">
                  <c:v>788</c:v>
                </c:pt>
                <c:pt idx="40">
                  <c:v>486</c:v>
                </c:pt>
                <c:pt idx="41">
                  <c:v>806</c:v>
                </c:pt>
                <c:pt idx="42">
                  <c:v>957</c:v>
                </c:pt>
                <c:pt idx="43">
                  <c:v>1062</c:v>
                </c:pt>
                <c:pt idx="44">
                  <c:v>733</c:v>
                </c:pt>
                <c:pt idx="45">
                  <c:v>754</c:v>
                </c:pt>
                <c:pt idx="46">
                  <c:v>484</c:v>
                </c:pt>
                <c:pt idx="47">
                  <c:v>275</c:v>
                </c:pt>
                <c:pt idx="48">
                  <c:v>720</c:v>
                </c:pt>
                <c:pt idx="49">
                  <c:v>913</c:v>
                </c:pt>
                <c:pt idx="50">
                  <c:v>800</c:v>
                </c:pt>
                <c:pt idx="51">
                  <c:v>665</c:v>
                </c:pt>
                <c:pt idx="52">
                  <c:v>888</c:v>
                </c:pt>
                <c:pt idx="53">
                  <c:v>484</c:v>
                </c:pt>
                <c:pt idx="54">
                  <c:v>282</c:v>
                </c:pt>
                <c:pt idx="55">
                  <c:v>736</c:v>
                </c:pt>
                <c:pt idx="56">
                  <c:v>956</c:v>
                </c:pt>
                <c:pt idx="57">
                  <c:v>877</c:v>
                </c:pt>
                <c:pt idx="58">
                  <c:v>835</c:v>
                </c:pt>
                <c:pt idx="59">
                  <c:v>912</c:v>
                </c:pt>
                <c:pt idx="60">
                  <c:v>439</c:v>
                </c:pt>
                <c:pt idx="61">
                  <c:v>325</c:v>
                </c:pt>
                <c:pt idx="62">
                  <c:v>784</c:v>
                </c:pt>
                <c:pt idx="63">
                  <c:v>972</c:v>
                </c:pt>
                <c:pt idx="64">
                  <c:v>978</c:v>
                </c:pt>
                <c:pt idx="65">
                  <c:v>1061</c:v>
                </c:pt>
                <c:pt idx="66">
                  <c:v>895</c:v>
                </c:pt>
                <c:pt idx="67">
                  <c:v>596</c:v>
                </c:pt>
                <c:pt idx="68">
                  <c:v>338</c:v>
                </c:pt>
                <c:pt idx="69">
                  <c:v>1170</c:v>
                </c:pt>
                <c:pt idx="70">
                  <c:v>1150</c:v>
                </c:pt>
                <c:pt idx="71">
                  <c:v>992</c:v>
                </c:pt>
                <c:pt idx="72">
                  <c:v>1111</c:v>
                </c:pt>
                <c:pt idx="73">
                  <c:v>992</c:v>
                </c:pt>
                <c:pt idx="74">
                  <c:v>834</c:v>
                </c:pt>
                <c:pt idx="75">
                  <c:v>470</c:v>
                </c:pt>
                <c:pt idx="76">
                  <c:v>1081</c:v>
                </c:pt>
                <c:pt idx="77">
                  <c:v>1369</c:v>
                </c:pt>
                <c:pt idx="78">
                  <c:v>1343</c:v>
                </c:pt>
                <c:pt idx="79">
                  <c:v>1378</c:v>
                </c:pt>
                <c:pt idx="80">
                  <c:v>1220</c:v>
                </c:pt>
                <c:pt idx="81">
                  <c:v>975</c:v>
                </c:pt>
                <c:pt idx="82">
                  <c:v>790</c:v>
                </c:pt>
                <c:pt idx="83">
                  <c:v>1268</c:v>
                </c:pt>
                <c:pt idx="84">
                  <c:v>2038</c:v>
                </c:pt>
                <c:pt idx="85">
                  <c:v>1494</c:v>
                </c:pt>
                <c:pt idx="86">
                  <c:v>1676</c:v>
                </c:pt>
                <c:pt idx="87">
                  <c:v>1796</c:v>
                </c:pt>
                <c:pt idx="88">
                  <c:v>1242</c:v>
                </c:pt>
                <c:pt idx="89">
                  <c:v>946</c:v>
                </c:pt>
                <c:pt idx="90">
                  <c:v>1483</c:v>
                </c:pt>
                <c:pt idx="91">
                  <c:v>2010</c:v>
                </c:pt>
                <c:pt idx="92">
                  <c:v>1659</c:v>
                </c:pt>
                <c:pt idx="93">
                  <c:v>1850</c:v>
                </c:pt>
                <c:pt idx="94">
                  <c:v>1462</c:v>
                </c:pt>
                <c:pt idx="95">
                  <c:v>1284</c:v>
                </c:pt>
                <c:pt idx="96">
                  <c:v>642</c:v>
                </c:pt>
                <c:pt idx="97">
                  <c:v>1168</c:v>
                </c:pt>
                <c:pt idx="98">
                  <c:v>1784</c:v>
                </c:pt>
                <c:pt idx="99">
                  <c:v>1705</c:v>
                </c:pt>
                <c:pt idx="100">
                  <c:v>1117</c:v>
                </c:pt>
                <c:pt idx="101">
                  <c:v>1402</c:v>
                </c:pt>
                <c:pt idx="102">
                  <c:v>935</c:v>
                </c:pt>
                <c:pt idx="103">
                  <c:v>508</c:v>
                </c:pt>
                <c:pt idx="104">
                  <c:v>1016</c:v>
                </c:pt>
                <c:pt idx="105">
                  <c:v>1455</c:v>
                </c:pt>
                <c:pt idx="106">
                  <c:v>1207</c:v>
                </c:pt>
                <c:pt idx="107">
                  <c:v>1052</c:v>
                </c:pt>
                <c:pt idx="108">
                  <c:v>1195</c:v>
                </c:pt>
                <c:pt idx="109">
                  <c:v>644</c:v>
                </c:pt>
                <c:pt idx="110">
                  <c:v>337</c:v>
                </c:pt>
                <c:pt idx="111">
                  <c:v>879</c:v>
                </c:pt>
                <c:pt idx="112">
                  <c:v>1008</c:v>
                </c:pt>
                <c:pt idx="113">
                  <c:v>782</c:v>
                </c:pt>
                <c:pt idx="114">
                  <c:v>798</c:v>
                </c:pt>
                <c:pt idx="115">
                  <c:v>779</c:v>
                </c:pt>
                <c:pt idx="116">
                  <c:v>482</c:v>
                </c:pt>
                <c:pt idx="117">
                  <c:v>236</c:v>
                </c:pt>
                <c:pt idx="118">
                  <c:v>663</c:v>
                </c:pt>
                <c:pt idx="119">
                  <c:v>759</c:v>
                </c:pt>
                <c:pt idx="120">
                  <c:v>724</c:v>
                </c:pt>
                <c:pt idx="121">
                  <c:v>471</c:v>
                </c:pt>
                <c:pt idx="122">
                  <c:v>540</c:v>
                </c:pt>
                <c:pt idx="123">
                  <c:v>269</c:v>
                </c:pt>
                <c:pt idx="124">
                  <c:v>255</c:v>
                </c:pt>
                <c:pt idx="125">
                  <c:v>186</c:v>
                </c:pt>
                <c:pt idx="126">
                  <c:v>459</c:v>
                </c:pt>
                <c:pt idx="127">
                  <c:v>642</c:v>
                </c:pt>
                <c:pt idx="128">
                  <c:v>431</c:v>
                </c:pt>
                <c:pt idx="129">
                  <c:v>443</c:v>
                </c:pt>
                <c:pt idx="130">
                  <c:v>277</c:v>
                </c:pt>
                <c:pt idx="131">
                  <c:v>149</c:v>
                </c:pt>
                <c:pt idx="132">
                  <c:v>349</c:v>
                </c:pt>
                <c:pt idx="133">
                  <c:v>436</c:v>
                </c:pt>
                <c:pt idx="134">
                  <c:v>351</c:v>
                </c:pt>
                <c:pt idx="135">
                  <c:v>269</c:v>
                </c:pt>
                <c:pt idx="136">
                  <c:v>343</c:v>
                </c:pt>
                <c:pt idx="137">
                  <c:v>209</c:v>
                </c:pt>
                <c:pt idx="138">
                  <c:v>84</c:v>
                </c:pt>
                <c:pt idx="139">
                  <c:v>260</c:v>
                </c:pt>
                <c:pt idx="140">
                  <c:v>366</c:v>
                </c:pt>
                <c:pt idx="141">
                  <c:v>261</c:v>
                </c:pt>
                <c:pt idx="142">
                  <c:v>212</c:v>
                </c:pt>
                <c:pt idx="143">
                  <c:v>238</c:v>
                </c:pt>
                <c:pt idx="144">
                  <c:v>173</c:v>
                </c:pt>
                <c:pt idx="145">
                  <c:v>95</c:v>
                </c:pt>
                <c:pt idx="146">
                  <c:v>198</c:v>
                </c:pt>
                <c:pt idx="147">
                  <c:v>298</c:v>
                </c:pt>
                <c:pt idx="148">
                  <c:v>232</c:v>
                </c:pt>
                <c:pt idx="149">
                  <c:v>237</c:v>
                </c:pt>
                <c:pt idx="150">
                  <c:v>210</c:v>
                </c:pt>
                <c:pt idx="151">
                  <c:v>126</c:v>
                </c:pt>
                <c:pt idx="152">
                  <c:v>71</c:v>
                </c:pt>
                <c:pt idx="153">
                  <c:v>259</c:v>
                </c:pt>
                <c:pt idx="154">
                  <c:v>186</c:v>
                </c:pt>
                <c:pt idx="155">
                  <c:v>161</c:v>
                </c:pt>
                <c:pt idx="156">
                  <c:v>174</c:v>
                </c:pt>
                <c:pt idx="157">
                  <c:v>183</c:v>
                </c:pt>
                <c:pt idx="158">
                  <c:v>94</c:v>
                </c:pt>
                <c:pt idx="159">
                  <c:v>52</c:v>
                </c:pt>
                <c:pt idx="160">
                  <c:v>138</c:v>
                </c:pt>
                <c:pt idx="161">
                  <c:v>153</c:v>
                </c:pt>
                <c:pt idx="162">
                  <c:v>139</c:v>
                </c:pt>
                <c:pt idx="163">
                  <c:v>100</c:v>
                </c:pt>
                <c:pt idx="164">
                  <c:v>111</c:v>
                </c:pt>
                <c:pt idx="165">
                  <c:v>76</c:v>
                </c:pt>
                <c:pt idx="166">
                  <c:v>30</c:v>
                </c:pt>
                <c:pt idx="167">
                  <c:v>122</c:v>
                </c:pt>
                <c:pt idx="168">
                  <c:v>136</c:v>
                </c:pt>
                <c:pt idx="169">
                  <c:v>95</c:v>
                </c:pt>
                <c:pt idx="170">
                  <c:v>68</c:v>
                </c:pt>
                <c:pt idx="171">
                  <c:v>77</c:v>
                </c:pt>
                <c:pt idx="172">
                  <c:v>60</c:v>
                </c:pt>
                <c:pt idx="173">
                  <c:v>22</c:v>
                </c:pt>
                <c:pt idx="174">
                  <c:v>69</c:v>
                </c:pt>
                <c:pt idx="175">
                  <c:v>72</c:v>
                </c:pt>
                <c:pt idx="176">
                  <c:v>66</c:v>
                </c:pt>
                <c:pt idx="177">
                  <c:v>48</c:v>
                </c:pt>
                <c:pt idx="178">
                  <c:v>52</c:v>
                </c:pt>
                <c:pt idx="179">
                  <c:v>36</c:v>
                </c:pt>
                <c:pt idx="18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loupec2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579</c:v>
                </c:pt>
                <c:pt idx="89">
                  <c:v>1578</c:v>
                </c:pt>
                <c:pt idx="90">
                  <c:v>1569</c:v>
                </c:pt>
                <c:pt idx="91">
                  <c:v>1554</c:v>
                </c:pt>
                <c:pt idx="92">
                  <c:v>1536</c:v>
                </c:pt>
                <c:pt idx="93">
                  <c:v>1516</c:v>
                </c:pt>
                <c:pt idx="94">
                  <c:v>1495</c:v>
                </c:pt>
                <c:pt idx="95">
                  <c:v>1472</c:v>
                </c:pt>
                <c:pt idx="96">
                  <c:v>1449</c:v>
                </c:pt>
                <c:pt idx="97">
                  <c:v>1425</c:v>
                </c:pt>
                <c:pt idx="98">
                  <c:v>1401</c:v>
                </c:pt>
                <c:pt idx="99">
                  <c:v>1376</c:v>
                </c:pt>
                <c:pt idx="100">
                  <c:v>1351</c:v>
                </c:pt>
                <c:pt idx="101">
                  <c:v>1325</c:v>
                </c:pt>
                <c:pt idx="102">
                  <c:v>1299</c:v>
                </c:pt>
                <c:pt idx="103">
                  <c:v>1273</c:v>
                </c:pt>
                <c:pt idx="104">
                  <c:v>1246</c:v>
                </c:pt>
                <c:pt idx="105">
                  <c:v>1220</c:v>
                </c:pt>
                <c:pt idx="106">
                  <c:v>1193</c:v>
                </c:pt>
                <c:pt idx="107">
                  <c:v>1167</c:v>
                </c:pt>
                <c:pt idx="108">
                  <c:v>1140</c:v>
                </c:pt>
                <c:pt idx="109">
                  <c:v>1113</c:v>
                </c:pt>
                <c:pt idx="110">
                  <c:v>1087</c:v>
                </c:pt>
                <c:pt idx="111">
                  <c:v>1060</c:v>
                </c:pt>
                <c:pt idx="112">
                  <c:v>1034</c:v>
                </c:pt>
                <c:pt idx="113">
                  <c:v>1008</c:v>
                </c:pt>
                <c:pt idx="114">
                  <c:v>983</c:v>
                </c:pt>
                <c:pt idx="115">
                  <c:v>957</c:v>
                </c:pt>
                <c:pt idx="116">
                  <c:v>932</c:v>
                </c:pt>
                <c:pt idx="117">
                  <c:v>907</c:v>
                </c:pt>
                <c:pt idx="118">
                  <c:v>883</c:v>
                </c:pt>
                <c:pt idx="119">
                  <c:v>859</c:v>
                </c:pt>
                <c:pt idx="120">
                  <c:v>836</c:v>
                </c:pt>
                <c:pt idx="121">
                  <c:v>813</c:v>
                </c:pt>
                <c:pt idx="122">
                  <c:v>791</c:v>
                </c:pt>
                <c:pt idx="123">
                  <c:v>769</c:v>
                </c:pt>
                <c:pt idx="124">
                  <c:v>747</c:v>
                </c:pt>
                <c:pt idx="125">
                  <c:v>726</c:v>
                </c:pt>
                <c:pt idx="126">
                  <c:v>706</c:v>
                </c:pt>
                <c:pt idx="127">
                  <c:v>686</c:v>
                </c:pt>
                <c:pt idx="128">
                  <c:v>666</c:v>
                </c:pt>
                <c:pt idx="129">
                  <c:v>647</c:v>
                </c:pt>
                <c:pt idx="130">
                  <c:v>629</c:v>
                </c:pt>
                <c:pt idx="131">
                  <c:v>610</c:v>
                </c:pt>
                <c:pt idx="132">
                  <c:v>592</c:v>
                </c:pt>
                <c:pt idx="133">
                  <c:v>574</c:v>
                </c:pt>
                <c:pt idx="134">
                  <c:v>557</c:v>
                </c:pt>
                <c:pt idx="135">
                  <c:v>540</c:v>
                </c:pt>
                <c:pt idx="136">
                  <c:v>523</c:v>
                </c:pt>
                <c:pt idx="137">
                  <c:v>507</c:v>
                </c:pt>
                <c:pt idx="138">
                  <c:v>491</c:v>
                </c:pt>
                <c:pt idx="139">
                  <c:v>475</c:v>
                </c:pt>
                <c:pt idx="140">
                  <c:v>460</c:v>
                </c:pt>
                <c:pt idx="141">
                  <c:v>445</c:v>
                </c:pt>
                <c:pt idx="142">
                  <c:v>431</c:v>
                </c:pt>
                <c:pt idx="143">
                  <c:v>417</c:v>
                </c:pt>
                <c:pt idx="144">
                  <c:v>403</c:v>
                </c:pt>
                <c:pt idx="145">
                  <c:v>390</c:v>
                </c:pt>
                <c:pt idx="146">
                  <c:v>377</c:v>
                </c:pt>
                <c:pt idx="147">
                  <c:v>364</c:v>
                </c:pt>
                <c:pt idx="148">
                  <c:v>352</c:v>
                </c:pt>
                <c:pt idx="149">
                  <c:v>340</c:v>
                </c:pt>
                <c:pt idx="150">
                  <c:v>329</c:v>
                </c:pt>
                <c:pt idx="151">
                  <c:v>317</c:v>
                </c:pt>
                <c:pt idx="152">
                  <c:v>307</c:v>
                </c:pt>
                <c:pt idx="153">
                  <c:v>296</c:v>
                </c:pt>
                <c:pt idx="154">
                  <c:v>286</c:v>
                </c:pt>
                <c:pt idx="155">
                  <c:v>276</c:v>
                </c:pt>
                <c:pt idx="156">
                  <c:v>266</c:v>
                </c:pt>
                <c:pt idx="157">
                  <c:v>257</c:v>
                </c:pt>
                <c:pt idx="158">
                  <c:v>248</c:v>
                </c:pt>
                <c:pt idx="159">
                  <c:v>239</c:v>
                </c:pt>
                <c:pt idx="160">
                  <c:v>230</c:v>
                </c:pt>
                <c:pt idx="161">
                  <c:v>221</c:v>
                </c:pt>
                <c:pt idx="162">
                  <c:v>213</c:v>
                </c:pt>
                <c:pt idx="163">
                  <c:v>204</c:v>
                </c:pt>
                <c:pt idx="164">
                  <c:v>195</c:v>
                </c:pt>
                <c:pt idx="165">
                  <c:v>186</c:v>
                </c:pt>
                <c:pt idx="166">
                  <c:v>178</c:v>
                </c:pt>
                <c:pt idx="167">
                  <c:v>169</c:v>
                </c:pt>
                <c:pt idx="168">
                  <c:v>161</c:v>
                </c:pt>
                <c:pt idx="169">
                  <c:v>153</c:v>
                </c:pt>
                <c:pt idx="170">
                  <c:v>145</c:v>
                </c:pt>
                <c:pt idx="171">
                  <c:v>138</c:v>
                </c:pt>
                <c:pt idx="172">
                  <c:v>131</c:v>
                </c:pt>
                <c:pt idx="173">
                  <c:v>124</c:v>
                </c:pt>
                <c:pt idx="174">
                  <c:v>117</c:v>
                </c:pt>
                <c:pt idx="175">
                  <c:v>111</c:v>
                </c:pt>
                <c:pt idx="176">
                  <c:v>105</c:v>
                </c:pt>
                <c:pt idx="177">
                  <c:v>99</c:v>
                </c:pt>
                <c:pt idx="178">
                  <c:v>94</c:v>
                </c:pt>
                <c:pt idx="179">
                  <c:v>89</c:v>
                </c:pt>
                <c:pt idx="180">
                  <c:v>85</c:v>
                </c:pt>
                <c:pt idx="181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729</c:v>
                </c:pt>
                <c:pt idx="89">
                  <c:v>1733</c:v>
                </c:pt>
                <c:pt idx="90">
                  <c:v>1727</c:v>
                </c:pt>
                <c:pt idx="91">
                  <c:v>1715</c:v>
                </c:pt>
                <c:pt idx="92">
                  <c:v>1700</c:v>
                </c:pt>
                <c:pt idx="93">
                  <c:v>1683</c:v>
                </c:pt>
                <c:pt idx="94">
                  <c:v>1664</c:v>
                </c:pt>
                <c:pt idx="95">
                  <c:v>1644</c:v>
                </c:pt>
                <c:pt idx="96">
                  <c:v>1623</c:v>
                </c:pt>
                <c:pt idx="97">
                  <c:v>1601</c:v>
                </c:pt>
                <c:pt idx="98">
                  <c:v>1579</c:v>
                </c:pt>
                <c:pt idx="99">
                  <c:v>1556</c:v>
                </c:pt>
                <c:pt idx="100">
                  <c:v>1533</c:v>
                </c:pt>
                <c:pt idx="101">
                  <c:v>1509</c:v>
                </c:pt>
                <c:pt idx="102">
                  <c:v>1485</c:v>
                </c:pt>
                <c:pt idx="103">
                  <c:v>1461</c:v>
                </c:pt>
                <c:pt idx="104">
                  <c:v>1436</c:v>
                </c:pt>
                <c:pt idx="105">
                  <c:v>1412</c:v>
                </c:pt>
                <c:pt idx="106">
                  <c:v>1387</c:v>
                </c:pt>
                <c:pt idx="107">
                  <c:v>1363</c:v>
                </c:pt>
                <c:pt idx="108">
                  <c:v>1338</c:v>
                </c:pt>
                <c:pt idx="109">
                  <c:v>1314</c:v>
                </c:pt>
                <c:pt idx="110">
                  <c:v>1289</c:v>
                </c:pt>
                <c:pt idx="111">
                  <c:v>1265</c:v>
                </c:pt>
                <c:pt idx="112">
                  <c:v>1241</c:v>
                </c:pt>
                <c:pt idx="113">
                  <c:v>1217</c:v>
                </c:pt>
                <c:pt idx="114">
                  <c:v>1193</c:v>
                </c:pt>
                <c:pt idx="115">
                  <c:v>1170</c:v>
                </c:pt>
                <c:pt idx="116">
                  <c:v>1146</c:v>
                </c:pt>
                <c:pt idx="117">
                  <c:v>1123</c:v>
                </c:pt>
                <c:pt idx="118">
                  <c:v>1100</c:v>
                </c:pt>
                <c:pt idx="119">
                  <c:v>1078</c:v>
                </c:pt>
                <c:pt idx="120">
                  <c:v>1055</c:v>
                </c:pt>
                <c:pt idx="121">
                  <c:v>1033</c:v>
                </c:pt>
                <c:pt idx="122">
                  <c:v>1012</c:v>
                </c:pt>
                <c:pt idx="123">
                  <c:v>990</c:v>
                </c:pt>
                <c:pt idx="124">
                  <c:v>969</c:v>
                </c:pt>
                <c:pt idx="125">
                  <c:v>948</c:v>
                </c:pt>
                <c:pt idx="126">
                  <c:v>928</c:v>
                </c:pt>
                <c:pt idx="127">
                  <c:v>908</c:v>
                </c:pt>
                <c:pt idx="128">
                  <c:v>888</c:v>
                </c:pt>
                <c:pt idx="129">
                  <c:v>868</c:v>
                </c:pt>
                <c:pt idx="130">
                  <c:v>849</c:v>
                </c:pt>
                <c:pt idx="131">
                  <c:v>830</c:v>
                </c:pt>
                <c:pt idx="132">
                  <c:v>811</c:v>
                </c:pt>
                <c:pt idx="133">
                  <c:v>793</c:v>
                </c:pt>
                <c:pt idx="134">
                  <c:v>775</c:v>
                </c:pt>
                <c:pt idx="135">
                  <c:v>757</c:v>
                </c:pt>
                <c:pt idx="136">
                  <c:v>740</c:v>
                </c:pt>
                <c:pt idx="137">
                  <c:v>723</c:v>
                </c:pt>
                <c:pt idx="138">
                  <c:v>706</c:v>
                </c:pt>
                <c:pt idx="139">
                  <c:v>690</c:v>
                </c:pt>
                <c:pt idx="140">
                  <c:v>674</c:v>
                </c:pt>
                <c:pt idx="141">
                  <c:v>658</c:v>
                </c:pt>
                <c:pt idx="142">
                  <c:v>642</c:v>
                </c:pt>
                <c:pt idx="143">
                  <c:v>627</c:v>
                </c:pt>
                <c:pt idx="144">
                  <c:v>612</c:v>
                </c:pt>
                <c:pt idx="145">
                  <c:v>598</c:v>
                </c:pt>
                <c:pt idx="146">
                  <c:v>584</c:v>
                </c:pt>
                <c:pt idx="147">
                  <c:v>570</c:v>
                </c:pt>
                <c:pt idx="148">
                  <c:v>556</c:v>
                </c:pt>
                <c:pt idx="149">
                  <c:v>542</c:v>
                </c:pt>
                <c:pt idx="150">
                  <c:v>529</c:v>
                </c:pt>
                <c:pt idx="151">
                  <c:v>517</c:v>
                </c:pt>
                <c:pt idx="152">
                  <c:v>504</c:v>
                </c:pt>
                <c:pt idx="153">
                  <c:v>492</c:v>
                </c:pt>
                <c:pt idx="154">
                  <c:v>480</c:v>
                </c:pt>
                <c:pt idx="155">
                  <c:v>468</c:v>
                </c:pt>
                <c:pt idx="156">
                  <c:v>456</c:v>
                </c:pt>
                <c:pt idx="157">
                  <c:v>445</c:v>
                </c:pt>
                <c:pt idx="158">
                  <c:v>434</c:v>
                </c:pt>
                <c:pt idx="159">
                  <c:v>423</c:v>
                </c:pt>
                <c:pt idx="160">
                  <c:v>413</c:v>
                </c:pt>
                <c:pt idx="161">
                  <c:v>402</c:v>
                </c:pt>
                <c:pt idx="162">
                  <c:v>392</c:v>
                </c:pt>
                <c:pt idx="163">
                  <c:v>383</c:v>
                </c:pt>
                <c:pt idx="164">
                  <c:v>373</c:v>
                </c:pt>
                <c:pt idx="165">
                  <c:v>364</c:v>
                </c:pt>
                <c:pt idx="166">
                  <c:v>354</c:v>
                </c:pt>
                <c:pt idx="167">
                  <c:v>346</c:v>
                </c:pt>
                <c:pt idx="168">
                  <c:v>337</c:v>
                </c:pt>
                <c:pt idx="169">
                  <c:v>328</c:v>
                </c:pt>
                <c:pt idx="170">
                  <c:v>320</c:v>
                </c:pt>
                <c:pt idx="171">
                  <c:v>312</c:v>
                </c:pt>
                <c:pt idx="172">
                  <c:v>304</c:v>
                </c:pt>
                <c:pt idx="173">
                  <c:v>296</c:v>
                </c:pt>
                <c:pt idx="174">
                  <c:v>289</c:v>
                </c:pt>
                <c:pt idx="175">
                  <c:v>281</c:v>
                </c:pt>
                <c:pt idx="176">
                  <c:v>274</c:v>
                </c:pt>
                <c:pt idx="177">
                  <c:v>267</c:v>
                </c:pt>
                <c:pt idx="178">
                  <c:v>260</c:v>
                </c:pt>
                <c:pt idx="179">
                  <c:v>253</c:v>
                </c:pt>
                <c:pt idx="180">
                  <c:v>247</c:v>
                </c:pt>
                <c:pt idx="181">
                  <c:v>2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400</c:v>
                </c:pt>
                <c:pt idx="1">
                  <c:v>398</c:v>
                </c:pt>
                <c:pt idx="2">
                  <c:v>499</c:v>
                </c:pt>
                <c:pt idx="3">
                  <c:v>411</c:v>
                </c:pt>
                <c:pt idx="4">
                  <c:v>355</c:v>
                </c:pt>
                <c:pt idx="5">
                  <c:v>144</c:v>
                </c:pt>
                <c:pt idx="6">
                  <c:v>333</c:v>
                </c:pt>
                <c:pt idx="7">
                  <c:v>550</c:v>
                </c:pt>
                <c:pt idx="8">
                  <c:v>525</c:v>
                </c:pt>
                <c:pt idx="9">
                  <c:v>571</c:v>
                </c:pt>
                <c:pt idx="10">
                  <c:v>512</c:v>
                </c:pt>
                <c:pt idx="11">
                  <c:v>403</c:v>
                </c:pt>
                <c:pt idx="12">
                  <c:v>235</c:v>
                </c:pt>
                <c:pt idx="13">
                  <c:v>446</c:v>
                </c:pt>
                <c:pt idx="14">
                  <c:v>860</c:v>
                </c:pt>
                <c:pt idx="15">
                  <c:v>774</c:v>
                </c:pt>
                <c:pt idx="16">
                  <c:v>857</c:v>
                </c:pt>
                <c:pt idx="17">
                  <c:v>852</c:v>
                </c:pt>
                <c:pt idx="18">
                  <c:v>811</c:v>
                </c:pt>
                <c:pt idx="19">
                  <c:v>431</c:v>
                </c:pt>
                <c:pt idx="20">
                  <c:v>787</c:v>
                </c:pt>
                <c:pt idx="21">
                  <c:v>1194</c:v>
                </c:pt>
                <c:pt idx="22">
                  <c:v>1461</c:v>
                </c:pt>
                <c:pt idx="23">
                  <c:v>779</c:v>
                </c:pt>
                <c:pt idx="24">
                  <c:v>331</c:v>
                </c:pt>
                <c:pt idx="25">
                  <c:v>313</c:v>
                </c:pt>
                <c:pt idx="26">
                  <c:v>587</c:v>
                </c:pt>
                <c:pt idx="27">
                  <c:v>1333</c:v>
                </c:pt>
                <c:pt idx="28">
                  <c:v>2021</c:v>
                </c:pt>
                <c:pt idx="29">
                  <c:v>1882</c:v>
                </c:pt>
                <c:pt idx="30">
                  <c:v>1769</c:v>
                </c:pt>
                <c:pt idx="31">
                  <c:v>394</c:v>
                </c:pt>
                <c:pt idx="32">
                  <c:v>567</c:v>
                </c:pt>
                <c:pt idx="33">
                  <c:v>849</c:v>
                </c:pt>
                <c:pt idx="34">
                  <c:v>1263</c:v>
                </c:pt>
                <c:pt idx="35">
                  <c:v>2064</c:v>
                </c:pt>
                <c:pt idx="36">
                  <c:v>1797</c:v>
                </c:pt>
                <c:pt idx="37">
                  <c:v>1404</c:v>
                </c:pt>
                <c:pt idx="38">
                  <c:v>1261</c:v>
                </c:pt>
                <c:pt idx="39">
                  <c:v>788</c:v>
                </c:pt>
                <c:pt idx="40">
                  <c:v>486</c:v>
                </c:pt>
                <c:pt idx="41">
                  <c:v>806</c:v>
                </c:pt>
                <c:pt idx="42">
                  <c:v>957</c:v>
                </c:pt>
                <c:pt idx="43">
                  <c:v>1062</c:v>
                </c:pt>
                <c:pt idx="44">
                  <c:v>733</c:v>
                </c:pt>
                <c:pt idx="45">
                  <c:v>754</c:v>
                </c:pt>
                <c:pt idx="46">
                  <c:v>484</c:v>
                </c:pt>
                <c:pt idx="47">
                  <c:v>275</c:v>
                </c:pt>
                <c:pt idx="48">
                  <c:v>720</c:v>
                </c:pt>
                <c:pt idx="49">
                  <c:v>913</c:v>
                </c:pt>
                <c:pt idx="50">
                  <c:v>800</c:v>
                </c:pt>
                <c:pt idx="51">
                  <c:v>665</c:v>
                </c:pt>
                <c:pt idx="52">
                  <c:v>888</c:v>
                </c:pt>
                <c:pt idx="53">
                  <c:v>484</c:v>
                </c:pt>
                <c:pt idx="54">
                  <c:v>282</c:v>
                </c:pt>
                <c:pt idx="55">
                  <c:v>736</c:v>
                </c:pt>
                <c:pt idx="56">
                  <c:v>956</c:v>
                </c:pt>
                <c:pt idx="57">
                  <c:v>877</c:v>
                </c:pt>
                <c:pt idx="58">
                  <c:v>835</c:v>
                </c:pt>
                <c:pt idx="59">
                  <c:v>912</c:v>
                </c:pt>
                <c:pt idx="60">
                  <c:v>439</c:v>
                </c:pt>
                <c:pt idx="61">
                  <c:v>325</c:v>
                </c:pt>
                <c:pt idx="62">
                  <c:v>784</c:v>
                </c:pt>
                <c:pt idx="63">
                  <c:v>972</c:v>
                </c:pt>
                <c:pt idx="64">
                  <c:v>978</c:v>
                </c:pt>
                <c:pt idx="65">
                  <c:v>1061</c:v>
                </c:pt>
                <c:pt idx="66">
                  <c:v>895</c:v>
                </c:pt>
                <c:pt idx="67">
                  <c:v>596</c:v>
                </c:pt>
                <c:pt idx="68">
                  <c:v>338</c:v>
                </c:pt>
                <c:pt idx="69">
                  <c:v>1170</c:v>
                </c:pt>
                <c:pt idx="70">
                  <c:v>1150</c:v>
                </c:pt>
                <c:pt idx="71">
                  <c:v>992</c:v>
                </c:pt>
                <c:pt idx="72">
                  <c:v>1111</c:v>
                </c:pt>
                <c:pt idx="73">
                  <c:v>992</c:v>
                </c:pt>
                <c:pt idx="74">
                  <c:v>834</c:v>
                </c:pt>
                <c:pt idx="75">
                  <c:v>470</c:v>
                </c:pt>
                <c:pt idx="76">
                  <c:v>1081</c:v>
                </c:pt>
                <c:pt idx="77">
                  <c:v>1369</c:v>
                </c:pt>
                <c:pt idx="78">
                  <c:v>1343</c:v>
                </c:pt>
                <c:pt idx="79">
                  <c:v>1378</c:v>
                </c:pt>
                <c:pt idx="80">
                  <c:v>1220</c:v>
                </c:pt>
                <c:pt idx="81">
                  <c:v>975</c:v>
                </c:pt>
                <c:pt idx="82">
                  <c:v>790</c:v>
                </c:pt>
                <c:pt idx="83">
                  <c:v>1268</c:v>
                </c:pt>
                <c:pt idx="84">
                  <c:v>2038</c:v>
                </c:pt>
                <c:pt idx="85">
                  <c:v>1494</c:v>
                </c:pt>
                <c:pt idx="86">
                  <c:v>1676</c:v>
                </c:pt>
                <c:pt idx="87">
                  <c:v>1796</c:v>
                </c:pt>
                <c:pt idx="88">
                  <c:v>1242</c:v>
                </c:pt>
                <c:pt idx="89">
                  <c:v>946</c:v>
                </c:pt>
                <c:pt idx="90">
                  <c:v>1483</c:v>
                </c:pt>
                <c:pt idx="91">
                  <c:v>2010</c:v>
                </c:pt>
                <c:pt idx="92">
                  <c:v>1659</c:v>
                </c:pt>
                <c:pt idx="93">
                  <c:v>1850</c:v>
                </c:pt>
                <c:pt idx="94">
                  <c:v>1462</c:v>
                </c:pt>
                <c:pt idx="95">
                  <c:v>1284</c:v>
                </c:pt>
                <c:pt idx="96">
                  <c:v>642</c:v>
                </c:pt>
                <c:pt idx="97">
                  <c:v>1168</c:v>
                </c:pt>
                <c:pt idx="98">
                  <c:v>1784</c:v>
                </c:pt>
                <c:pt idx="99">
                  <c:v>1705</c:v>
                </c:pt>
                <c:pt idx="100">
                  <c:v>1117</c:v>
                </c:pt>
                <c:pt idx="101">
                  <c:v>1402</c:v>
                </c:pt>
                <c:pt idx="102">
                  <c:v>935</c:v>
                </c:pt>
                <c:pt idx="103">
                  <c:v>508</c:v>
                </c:pt>
                <c:pt idx="104">
                  <c:v>1016</c:v>
                </c:pt>
                <c:pt idx="105">
                  <c:v>1455</c:v>
                </c:pt>
                <c:pt idx="106">
                  <c:v>1207</c:v>
                </c:pt>
                <c:pt idx="107">
                  <c:v>1052</c:v>
                </c:pt>
                <c:pt idx="108">
                  <c:v>1195</c:v>
                </c:pt>
                <c:pt idx="109">
                  <c:v>644</c:v>
                </c:pt>
                <c:pt idx="110">
                  <c:v>337</c:v>
                </c:pt>
                <c:pt idx="111">
                  <c:v>879</c:v>
                </c:pt>
                <c:pt idx="112">
                  <c:v>1008</c:v>
                </c:pt>
                <c:pt idx="113">
                  <c:v>782</c:v>
                </c:pt>
                <c:pt idx="114">
                  <c:v>798</c:v>
                </c:pt>
                <c:pt idx="115">
                  <c:v>779</c:v>
                </c:pt>
                <c:pt idx="116">
                  <c:v>482</c:v>
                </c:pt>
                <c:pt idx="117">
                  <c:v>236</c:v>
                </c:pt>
                <c:pt idx="118">
                  <c:v>663</c:v>
                </c:pt>
                <c:pt idx="119">
                  <c:v>759</c:v>
                </c:pt>
                <c:pt idx="120">
                  <c:v>724</c:v>
                </c:pt>
                <c:pt idx="121">
                  <c:v>471</c:v>
                </c:pt>
                <c:pt idx="122">
                  <c:v>540</c:v>
                </c:pt>
                <c:pt idx="123">
                  <c:v>269</c:v>
                </c:pt>
                <c:pt idx="124">
                  <c:v>255</c:v>
                </c:pt>
                <c:pt idx="125">
                  <c:v>186</c:v>
                </c:pt>
                <c:pt idx="126">
                  <c:v>459</c:v>
                </c:pt>
                <c:pt idx="127">
                  <c:v>642</c:v>
                </c:pt>
                <c:pt idx="128">
                  <c:v>431</c:v>
                </c:pt>
                <c:pt idx="129">
                  <c:v>443</c:v>
                </c:pt>
                <c:pt idx="130">
                  <c:v>277</c:v>
                </c:pt>
                <c:pt idx="131">
                  <c:v>149</c:v>
                </c:pt>
                <c:pt idx="132">
                  <c:v>349</c:v>
                </c:pt>
                <c:pt idx="133">
                  <c:v>436</c:v>
                </c:pt>
                <c:pt idx="134">
                  <c:v>351</c:v>
                </c:pt>
                <c:pt idx="135">
                  <c:v>269</c:v>
                </c:pt>
                <c:pt idx="136">
                  <c:v>343</c:v>
                </c:pt>
                <c:pt idx="137">
                  <c:v>209</c:v>
                </c:pt>
                <c:pt idx="138">
                  <c:v>84</c:v>
                </c:pt>
                <c:pt idx="139">
                  <c:v>260</c:v>
                </c:pt>
                <c:pt idx="140">
                  <c:v>366</c:v>
                </c:pt>
                <c:pt idx="141">
                  <c:v>261</c:v>
                </c:pt>
                <c:pt idx="142">
                  <c:v>212</c:v>
                </c:pt>
                <c:pt idx="143">
                  <c:v>238</c:v>
                </c:pt>
                <c:pt idx="144">
                  <c:v>173</c:v>
                </c:pt>
                <c:pt idx="145">
                  <c:v>95</c:v>
                </c:pt>
                <c:pt idx="146">
                  <c:v>198</c:v>
                </c:pt>
                <c:pt idx="147">
                  <c:v>298</c:v>
                </c:pt>
                <c:pt idx="148">
                  <c:v>232</c:v>
                </c:pt>
                <c:pt idx="149">
                  <c:v>237</c:v>
                </c:pt>
                <c:pt idx="150">
                  <c:v>210</c:v>
                </c:pt>
                <c:pt idx="151">
                  <c:v>126</c:v>
                </c:pt>
                <c:pt idx="152">
                  <c:v>71</c:v>
                </c:pt>
                <c:pt idx="153">
                  <c:v>259</c:v>
                </c:pt>
                <c:pt idx="154">
                  <c:v>186</c:v>
                </c:pt>
                <c:pt idx="155">
                  <c:v>161</c:v>
                </c:pt>
                <c:pt idx="156">
                  <c:v>174</c:v>
                </c:pt>
                <c:pt idx="157">
                  <c:v>183</c:v>
                </c:pt>
                <c:pt idx="158">
                  <c:v>94</c:v>
                </c:pt>
                <c:pt idx="159">
                  <c:v>52</c:v>
                </c:pt>
                <c:pt idx="160">
                  <c:v>138</c:v>
                </c:pt>
                <c:pt idx="161">
                  <c:v>153</c:v>
                </c:pt>
                <c:pt idx="162">
                  <c:v>139</c:v>
                </c:pt>
                <c:pt idx="163">
                  <c:v>100</c:v>
                </c:pt>
                <c:pt idx="164">
                  <c:v>111</c:v>
                </c:pt>
                <c:pt idx="165">
                  <c:v>76</c:v>
                </c:pt>
                <c:pt idx="166">
                  <c:v>30</c:v>
                </c:pt>
                <c:pt idx="167">
                  <c:v>122</c:v>
                </c:pt>
                <c:pt idx="168">
                  <c:v>136</c:v>
                </c:pt>
                <c:pt idx="169">
                  <c:v>95</c:v>
                </c:pt>
                <c:pt idx="170">
                  <c:v>68</c:v>
                </c:pt>
                <c:pt idx="171">
                  <c:v>77</c:v>
                </c:pt>
                <c:pt idx="172">
                  <c:v>60</c:v>
                </c:pt>
                <c:pt idx="173">
                  <c:v>22</c:v>
                </c:pt>
                <c:pt idx="174">
                  <c:v>69</c:v>
                </c:pt>
                <c:pt idx="175">
                  <c:v>72</c:v>
                </c:pt>
                <c:pt idx="176">
                  <c:v>66</c:v>
                </c:pt>
                <c:pt idx="177">
                  <c:v>48</c:v>
                </c:pt>
                <c:pt idx="178">
                  <c:v>52</c:v>
                </c:pt>
                <c:pt idx="179">
                  <c:v>36</c:v>
                </c:pt>
                <c:pt idx="180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4B-430D-AC3E-99694821CD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3</c:v>
                </c:pt>
                <c:pt idx="169">
                  <c:v>127</c:v>
                </c:pt>
                <c:pt idx="170">
                  <c:v>121</c:v>
                </c:pt>
                <c:pt idx="171">
                  <c:v>116</c:v>
                </c:pt>
                <c:pt idx="172">
                  <c:v>111</c:v>
                </c:pt>
                <c:pt idx="173">
                  <c:v>105</c:v>
                </c:pt>
                <c:pt idx="174">
                  <c:v>100</c:v>
                </c:pt>
                <c:pt idx="175">
                  <c:v>95</c:v>
                </c:pt>
                <c:pt idx="176">
                  <c:v>90</c:v>
                </c:pt>
                <c:pt idx="177">
                  <c:v>86</c:v>
                </c:pt>
                <c:pt idx="178">
                  <c:v>81</c:v>
                </c:pt>
                <c:pt idx="179">
                  <c:v>77</c:v>
                </c:pt>
                <c:pt idx="180">
                  <c:v>73</c:v>
                </c:pt>
                <c:pt idx="181">
                  <c:v>68</c:v>
                </c:pt>
                <c:pt idx="182">
                  <c:v>65</c:v>
                </c:pt>
                <c:pt idx="183">
                  <c:v>61</c:v>
                </c:pt>
                <c:pt idx="184">
                  <c:v>57</c:v>
                </c:pt>
                <c:pt idx="185">
                  <c:v>54</c:v>
                </c:pt>
                <c:pt idx="186">
                  <c:v>51</c:v>
                </c:pt>
                <c:pt idx="187">
                  <c:v>48</c:v>
                </c:pt>
                <c:pt idx="188">
                  <c:v>45</c:v>
                </c:pt>
                <c:pt idx="189">
                  <c:v>43</c:v>
                </c:pt>
                <c:pt idx="190">
                  <c:v>40</c:v>
                </c:pt>
                <c:pt idx="191">
                  <c:v>38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28</c:v>
                </c:pt>
                <c:pt idx="197">
                  <c:v>26</c:v>
                </c:pt>
                <c:pt idx="198">
                  <c:v>25</c:v>
                </c:pt>
                <c:pt idx="199">
                  <c:v>23</c:v>
                </c:pt>
                <c:pt idx="200">
                  <c:v>22</c:v>
                </c:pt>
                <c:pt idx="201">
                  <c:v>20</c:v>
                </c:pt>
                <c:pt idx="202">
                  <c:v>19</c:v>
                </c:pt>
                <c:pt idx="203">
                  <c:v>18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2</c:v>
                </c:pt>
                <c:pt idx="210">
                  <c:v>11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4B-430D-AC3E-99694821CDB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6</c:v>
                </c:pt>
                <c:pt idx="169">
                  <c:v>134</c:v>
                </c:pt>
                <c:pt idx="170">
                  <c:v>134</c:v>
                </c:pt>
                <c:pt idx="171">
                  <c:v>133</c:v>
                </c:pt>
                <c:pt idx="172">
                  <c:v>133</c:v>
                </c:pt>
                <c:pt idx="173">
                  <c:v>133</c:v>
                </c:pt>
                <c:pt idx="174">
                  <c:v>132</c:v>
                </c:pt>
                <c:pt idx="175">
                  <c:v>134</c:v>
                </c:pt>
                <c:pt idx="176">
                  <c:v>137</c:v>
                </c:pt>
                <c:pt idx="177">
                  <c:v>140</c:v>
                </c:pt>
                <c:pt idx="178">
                  <c:v>144</c:v>
                </c:pt>
                <c:pt idx="179">
                  <c:v>147</c:v>
                </c:pt>
                <c:pt idx="180">
                  <c:v>151</c:v>
                </c:pt>
                <c:pt idx="181">
                  <c:v>155</c:v>
                </c:pt>
                <c:pt idx="182">
                  <c:v>158</c:v>
                </c:pt>
                <c:pt idx="183">
                  <c:v>162</c:v>
                </c:pt>
                <c:pt idx="184">
                  <c:v>166</c:v>
                </c:pt>
                <c:pt idx="185">
                  <c:v>170</c:v>
                </c:pt>
                <c:pt idx="186">
                  <c:v>173</c:v>
                </c:pt>
                <c:pt idx="187">
                  <c:v>177</c:v>
                </c:pt>
                <c:pt idx="188">
                  <c:v>181</c:v>
                </c:pt>
                <c:pt idx="189">
                  <c:v>186</c:v>
                </c:pt>
                <c:pt idx="190">
                  <c:v>190</c:v>
                </c:pt>
                <c:pt idx="191">
                  <c:v>194</c:v>
                </c:pt>
                <c:pt idx="192">
                  <c:v>199</c:v>
                </c:pt>
                <c:pt idx="193">
                  <c:v>203</c:v>
                </c:pt>
                <c:pt idx="194">
                  <c:v>207</c:v>
                </c:pt>
                <c:pt idx="195">
                  <c:v>211</c:v>
                </c:pt>
                <c:pt idx="196">
                  <c:v>215</c:v>
                </c:pt>
                <c:pt idx="197">
                  <c:v>218</c:v>
                </c:pt>
                <c:pt idx="198">
                  <c:v>221</c:v>
                </c:pt>
                <c:pt idx="199">
                  <c:v>225</c:v>
                </c:pt>
                <c:pt idx="200">
                  <c:v>227</c:v>
                </c:pt>
                <c:pt idx="201">
                  <c:v>230</c:v>
                </c:pt>
                <c:pt idx="202">
                  <c:v>232</c:v>
                </c:pt>
                <c:pt idx="203">
                  <c:v>234</c:v>
                </c:pt>
                <c:pt idx="204">
                  <c:v>236</c:v>
                </c:pt>
                <c:pt idx="205">
                  <c:v>237</c:v>
                </c:pt>
                <c:pt idx="206">
                  <c:v>238</c:v>
                </c:pt>
                <c:pt idx="207">
                  <c:v>238</c:v>
                </c:pt>
                <c:pt idx="208">
                  <c:v>238</c:v>
                </c:pt>
                <c:pt idx="209">
                  <c:v>238</c:v>
                </c:pt>
                <c:pt idx="210">
                  <c:v>237</c:v>
                </c:pt>
                <c:pt idx="211">
                  <c:v>236</c:v>
                </c:pt>
                <c:pt idx="212">
                  <c:v>235</c:v>
                </c:pt>
                <c:pt idx="213">
                  <c:v>233</c:v>
                </c:pt>
                <c:pt idx="214">
                  <c:v>231</c:v>
                </c:pt>
                <c:pt idx="215">
                  <c:v>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4B-430D-AC3E-99694821CDB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4B-430D-AC3E-99694821CDB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840</c:v>
                </c:pt>
                <c:pt idx="1">
                  <c:v>484</c:v>
                </c:pt>
                <c:pt idx="2">
                  <c:v>627</c:v>
                </c:pt>
                <c:pt idx="3">
                  <c:v>580</c:v>
                </c:pt>
                <c:pt idx="4">
                  <c:v>421</c:v>
                </c:pt>
                <c:pt idx="5">
                  <c:v>150</c:v>
                </c:pt>
                <c:pt idx="6">
                  <c:v>594</c:v>
                </c:pt>
                <c:pt idx="7">
                  <c:v>884</c:v>
                </c:pt>
                <c:pt idx="8">
                  <c:v>820</c:v>
                </c:pt>
                <c:pt idx="9">
                  <c:v>806</c:v>
                </c:pt>
                <c:pt idx="10">
                  <c:v>858</c:v>
                </c:pt>
                <c:pt idx="11">
                  <c:v>577</c:v>
                </c:pt>
                <c:pt idx="12">
                  <c:v>142</c:v>
                </c:pt>
                <c:pt idx="13">
                  <c:v>770</c:v>
                </c:pt>
                <c:pt idx="14">
                  <c:v>1071</c:v>
                </c:pt>
                <c:pt idx="15">
                  <c:v>968</c:v>
                </c:pt>
                <c:pt idx="16">
                  <c:v>1108</c:v>
                </c:pt>
                <c:pt idx="17">
                  <c:v>1131</c:v>
                </c:pt>
                <c:pt idx="18">
                  <c:v>759</c:v>
                </c:pt>
                <c:pt idx="19">
                  <c:v>282</c:v>
                </c:pt>
                <c:pt idx="20">
                  <c:v>1025</c:v>
                </c:pt>
                <c:pt idx="21">
                  <c:v>1552</c:v>
                </c:pt>
                <c:pt idx="22">
                  <c:v>1776</c:v>
                </c:pt>
                <c:pt idx="23">
                  <c:v>634</c:v>
                </c:pt>
                <c:pt idx="24">
                  <c:v>288</c:v>
                </c:pt>
                <c:pt idx="25">
                  <c:v>344</c:v>
                </c:pt>
                <c:pt idx="26">
                  <c:v>494</c:v>
                </c:pt>
                <c:pt idx="27">
                  <c:v>1604</c:v>
                </c:pt>
                <c:pt idx="28">
                  <c:v>2377</c:v>
                </c:pt>
                <c:pt idx="29">
                  <c:v>2378</c:v>
                </c:pt>
                <c:pt idx="30">
                  <c:v>2241</c:v>
                </c:pt>
                <c:pt idx="31">
                  <c:v>364</c:v>
                </c:pt>
                <c:pt idx="32">
                  <c:v>572</c:v>
                </c:pt>
                <c:pt idx="33">
                  <c:v>822</c:v>
                </c:pt>
                <c:pt idx="34">
                  <c:v>1601</c:v>
                </c:pt>
                <c:pt idx="35">
                  <c:v>2644</c:v>
                </c:pt>
                <c:pt idx="36">
                  <c:v>2266</c:v>
                </c:pt>
                <c:pt idx="37">
                  <c:v>1976</c:v>
                </c:pt>
                <c:pt idx="38">
                  <c:v>1579</c:v>
                </c:pt>
                <c:pt idx="39">
                  <c:v>999</c:v>
                </c:pt>
                <c:pt idx="40">
                  <c:v>376</c:v>
                </c:pt>
                <c:pt idx="41">
                  <c:v>1141</c:v>
                </c:pt>
                <c:pt idx="42">
                  <c:v>1414</c:v>
                </c:pt>
                <c:pt idx="43">
                  <c:v>1495</c:v>
                </c:pt>
                <c:pt idx="44">
                  <c:v>1001</c:v>
                </c:pt>
                <c:pt idx="45">
                  <c:v>1210</c:v>
                </c:pt>
                <c:pt idx="46">
                  <c:v>688</c:v>
                </c:pt>
                <c:pt idx="47">
                  <c:v>198</c:v>
                </c:pt>
                <c:pt idx="48">
                  <c:v>1049</c:v>
                </c:pt>
                <c:pt idx="49">
                  <c:v>1242</c:v>
                </c:pt>
                <c:pt idx="50">
                  <c:v>1138</c:v>
                </c:pt>
                <c:pt idx="51">
                  <c:v>1011</c:v>
                </c:pt>
                <c:pt idx="52">
                  <c:v>1124</c:v>
                </c:pt>
                <c:pt idx="53">
                  <c:v>610</c:v>
                </c:pt>
                <c:pt idx="54">
                  <c:v>233</c:v>
                </c:pt>
                <c:pt idx="55">
                  <c:v>1028</c:v>
                </c:pt>
                <c:pt idx="56">
                  <c:v>1256</c:v>
                </c:pt>
                <c:pt idx="57">
                  <c:v>1187</c:v>
                </c:pt>
                <c:pt idx="58">
                  <c:v>952</c:v>
                </c:pt>
                <c:pt idx="59">
                  <c:v>1024</c:v>
                </c:pt>
                <c:pt idx="60">
                  <c:v>516</c:v>
                </c:pt>
                <c:pt idx="61">
                  <c:v>259</c:v>
                </c:pt>
                <c:pt idx="62">
                  <c:v>1067</c:v>
                </c:pt>
                <c:pt idx="63">
                  <c:v>1474</c:v>
                </c:pt>
                <c:pt idx="64">
                  <c:v>1323</c:v>
                </c:pt>
                <c:pt idx="65">
                  <c:v>1193</c:v>
                </c:pt>
                <c:pt idx="66">
                  <c:v>1301</c:v>
                </c:pt>
                <c:pt idx="67">
                  <c:v>780</c:v>
                </c:pt>
                <c:pt idx="68">
                  <c:v>287</c:v>
                </c:pt>
                <c:pt idx="69">
                  <c:v>1237</c:v>
                </c:pt>
                <c:pt idx="70">
                  <c:v>1446</c:v>
                </c:pt>
                <c:pt idx="71">
                  <c:v>1549</c:v>
                </c:pt>
                <c:pt idx="72">
                  <c:v>1356</c:v>
                </c:pt>
                <c:pt idx="73">
                  <c:v>1208</c:v>
                </c:pt>
                <c:pt idx="74">
                  <c:v>965</c:v>
                </c:pt>
                <c:pt idx="75">
                  <c:v>382</c:v>
                </c:pt>
                <c:pt idx="76">
                  <c:v>1361</c:v>
                </c:pt>
                <c:pt idx="77">
                  <c:v>2017</c:v>
                </c:pt>
                <c:pt idx="78">
                  <c:v>1827</c:v>
                </c:pt>
                <c:pt idx="79">
                  <c:v>1867</c:v>
                </c:pt>
                <c:pt idx="80">
                  <c:v>1983</c:v>
                </c:pt>
                <c:pt idx="81">
                  <c:v>1260</c:v>
                </c:pt>
                <c:pt idx="82">
                  <c:v>669</c:v>
                </c:pt>
                <c:pt idx="83">
                  <c:v>1795</c:v>
                </c:pt>
                <c:pt idx="84">
                  <c:v>2595</c:v>
                </c:pt>
                <c:pt idx="85">
                  <c:v>2202</c:v>
                </c:pt>
                <c:pt idx="86">
                  <c:v>2397</c:v>
                </c:pt>
                <c:pt idx="87">
                  <c:v>2377</c:v>
                </c:pt>
                <c:pt idx="88">
                  <c:v>1559</c:v>
                </c:pt>
                <c:pt idx="89">
                  <c:v>796</c:v>
                </c:pt>
                <c:pt idx="90">
                  <c:v>1927</c:v>
                </c:pt>
                <c:pt idx="91">
                  <c:v>2908</c:v>
                </c:pt>
                <c:pt idx="92">
                  <c:v>2451</c:v>
                </c:pt>
                <c:pt idx="93">
                  <c:v>2612</c:v>
                </c:pt>
                <c:pt idx="94">
                  <c:v>2160</c:v>
                </c:pt>
                <c:pt idx="95">
                  <c:v>1763</c:v>
                </c:pt>
                <c:pt idx="96">
                  <c:v>703</c:v>
                </c:pt>
                <c:pt idx="97">
                  <c:v>1560</c:v>
                </c:pt>
                <c:pt idx="98">
                  <c:v>2643</c:v>
                </c:pt>
                <c:pt idx="99">
                  <c:v>2375</c:v>
                </c:pt>
                <c:pt idx="100">
                  <c:v>1703</c:v>
                </c:pt>
                <c:pt idx="101">
                  <c:v>2454</c:v>
                </c:pt>
                <c:pt idx="102">
                  <c:v>1286</c:v>
                </c:pt>
                <c:pt idx="103">
                  <c:v>559</c:v>
                </c:pt>
                <c:pt idx="104">
                  <c:v>1448</c:v>
                </c:pt>
                <c:pt idx="105">
                  <c:v>2331</c:v>
                </c:pt>
                <c:pt idx="106">
                  <c:v>1792</c:v>
                </c:pt>
                <c:pt idx="107">
                  <c:v>1578</c:v>
                </c:pt>
                <c:pt idx="108">
                  <c:v>1532</c:v>
                </c:pt>
                <c:pt idx="109">
                  <c:v>879</c:v>
                </c:pt>
                <c:pt idx="110">
                  <c:v>344</c:v>
                </c:pt>
                <c:pt idx="111">
                  <c:v>1241</c:v>
                </c:pt>
                <c:pt idx="112">
                  <c:v>1691</c:v>
                </c:pt>
                <c:pt idx="113">
                  <c:v>1202</c:v>
                </c:pt>
                <c:pt idx="114">
                  <c:v>1119</c:v>
                </c:pt>
                <c:pt idx="115">
                  <c:v>1196</c:v>
                </c:pt>
                <c:pt idx="116">
                  <c:v>598</c:v>
                </c:pt>
                <c:pt idx="117">
                  <c:v>233</c:v>
                </c:pt>
                <c:pt idx="118">
                  <c:v>971</c:v>
                </c:pt>
                <c:pt idx="119">
                  <c:v>1254</c:v>
                </c:pt>
                <c:pt idx="120">
                  <c:v>890</c:v>
                </c:pt>
                <c:pt idx="121">
                  <c:v>662</c:v>
                </c:pt>
                <c:pt idx="122">
                  <c:v>478</c:v>
                </c:pt>
                <c:pt idx="123">
                  <c:v>309</c:v>
                </c:pt>
                <c:pt idx="124">
                  <c:v>267</c:v>
                </c:pt>
                <c:pt idx="125">
                  <c:v>233</c:v>
                </c:pt>
                <c:pt idx="126">
                  <c:v>750</c:v>
                </c:pt>
                <c:pt idx="127">
                  <c:v>900</c:v>
                </c:pt>
                <c:pt idx="128">
                  <c:v>526</c:v>
                </c:pt>
                <c:pt idx="129">
                  <c:v>506</c:v>
                </c:pt>
                <c:pt idx="130">
                  <c:v>282</c:v>
                </c:pt>
                <c:pt idx="131">
                  <c:v>134</c:v>
                </c:pt>
                <c:pt idx="132">
                  <c:v>439</c:v>
                </c:pt>
                <c:pt idx="133">
                  <c:v>560</c:v>
                </c:pt>
                <c:pt idx="134">
                  <c:v>442</c:v>
                </c:pt>
                <c:pt idx="135">
                  <c:v>359</c:v>
                </c:pt>
                <c:pt idx="136">
                  <c:v>360</c:v>
                </c:pt>
                <c:pt idx="137">
                  <c:v>188</c:v>
                </c:pt>
                <c:pt idx="138">
                  <c:v>92</c:v>
                </c:pt>
                <c:pt idx="139">
                  <c:v>352</c:v>
                </c:pt>
                <c:pt idx="140">
                  <c:v>462</c:v>
                </c:pt>
                <c:pt idx="141">
                  <c:v>271</c:v>
                </c:pt>
                <c:pt idx="142">
                  <c:v>319</c:v>
                </c:pt>
                <c:pt idx="143">
                  <c:v>254</c:v>
                </c:pt>
                <c:pt idx="144">
                  <c:v>186</c:v>
                </c:pt>
                <c:pt idx="145">
                  <c:v>92</c:v>
                </c:pt>
                <c:pt idx="146">
                  <c:v>341</c:v>
                </c:pt>
                <c:pt idx="147">
                  <c:v>328</c:v>
                </c:pt>
                <c:pt idx="148">
                  <c:v>251</c:v>
                </c:pt>
                <c:pt idx="149">
                  <c:v>222</c:v>
                </c:pt>
                <c:pt idx="150">
                  <c:v>237</c:v>
                </c:pt>
                <c:pt idx="151">
                  <c:v>113</c:v>
                </c:pt>
                <c:pt idx="152">
                  <c:v>64</c:v>
                </c:pt>
                <c:pt idx="153">
                  <c:v>279</c:v>
                </c:pt>
                <c:pt idx="154">
                  <c:v>278</c:v>
                </c:pt>
                <c:pt idx="155">
                  <c:v>157</c:v>
                </c:pt>
                <c:pt idx="156">
                  <c:v>167</c:v>
                </c:pt>
                <c:pt idx="157">
                  <c:v>165</c:v>
                </c:pt>
                <c:pt idx="158">
                  <c:v>90</c:v>
                </c:pt>
                <c:pt idx="159">
                  <c:v>32</c:v>
                </c:pt>
                <c:pt idx="160">
                  <c:v>116</c:v>
                </c:pt>
                <c:pt idx="161">
                  <c:v>196</c:v>
                </c:pt>
                <c:pt idx="162">
                  <c:v>130</c:v>
                </c:pt>
                <c:pt idx="163">
                  <c:v>142</c:v>
                </c:pt>
                <c:pt idx="164">
                  <c:v>127</c:v>
                </c:pt>
                <c:pt idx="165">
                  <c:v>66</c:v>
                </c:pt>
                <c:pt idx="166">
                  <c:v>19</c:v>
                </c:pt>
                <c:pt idx="167">
                  <c:v>119</c:v>
                </c:pt>
                <c:pt idx="168">
                  <c:v>122</c:v>
                </c:pt>
                <c:pt idx="169">
                  <c:v>59</c:v>
                </c:pt>
                <c:pt idx="170">
                  <c:v>43</c:v>
                </c:pt>
                <c:pt idx="171">
                  <c:v>65</c:v>
                </c:pt>
                <c:pt idx="172">
                  <c:v>22</c:v>
                </c:pt>
                <c:pt idx="173">
                  <c:v>12</c:v>
                </c:pt>
                <c:pt idx="174">
                  <c:v>80</c:v>
                </c:pt>
                <c:pt idx="175">
                  <c:v>46</c:v>
                </c:pt>
                <c:pt idx="176">
                  <c:v>47</c:v>
                </c:pt>
                <c:pt idx="177">
                  <c:v>46</c:v>
                </c:pt>
                <c:pt idx="178">
                  <c:v>44</c:v>
                </c:pt>
                <c:pt idx="179">
                  <c:v>26</c:v>
                </c:pt>
                <c:pt idx="18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DB-4B1D-B66D-E5F1CE7002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DB-4B1D-B66D-E5F1CE700273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2327</c:v>
                </c:pt>
                <c:pt idx="89">
                  <c:v>2369</c:v>
                </c:pt>
                <c:pt idx="90">
                  <c:v>2403</c:v>
                </c:pt>
                <c:pt idx="91">
                  <c:v>2433</c:v>
                </c:pt>
                <c:pt idx="92">
                  <c:v>2460</c:v>
                </c:pt>
                <c:pt idx="93">
                  <c:v>2486</c:v>
                </c:pt>
                <c:pt idx="94">
                  <c:v>2510</c:v>
                </c:pt>
                <c:pt idx="95">
                  <c:v>2532</c:v>
                </c:pt>
                <c:pt idx="96">
                  <c:v>2552</c:v>
                </c:pt>
                <c:pt idx="97">
                  <c:v>2572</c:v>
                </c:pt>
                <c:pt idx="98">
                  <c:v>2590</c:v>
                </c:pt>
                <c:pt idx="99">
                  <c:v>2606</c:v>
                </c:pt>
                <c:pt idx="100">
                  <c:v>2622</c:v>
                </c:pt>
                <c:pt idx="101">
                  <c:v>2636</c:v>
                </c:pt>
                <c:pt idx="102">
                  <c:v>2649</c:v>
                </c:pt>
                <c:pt idx="103">
                  <c:v>2661</c:v>
                </c:pt>
                <c:pt idx="104">
                  <c:v>2671</c:v>
                </c:pt>
                <c:pt idx="105">
                  <c:v>2681</c:v>
                </c:pt>
                <c:pt idx="106">
                  <c:v>2689</c:v>
                </c:pt>
                <c:pt idx="107">
                  <c:v>2696</c:v>
                </c:pt>
                <c:pt idx="108">
                  <c:v>2702</c:v>
                </c:pt>
                <c:pt idx="109">
                  <c:v>2707</c:v>
                </c:pt>
                <c:pt idx="110">
                  <c:v>2711</c:v>
                </c:pt>
                <c:pt idx="111">
                  <c:v>2714</c:v>
                </c:pt>
                <c:pt idx="112">
                  <c:v>2715</c:v>
                </c:pt>
                <c:pt idx="113">
                  <c:v>2716</c:v>
                </c:pt>
                <c:pt idx="114">
                  <c:v>2715</c:v>
                </c:pt>
                <c:pt idx="115">
                  <c:v>2714</c:v>
                </c:pt>
                <c:pt idx="116">
                  <c:v>2711</c:v>
                </c:pt>
                <c:pt idx="117">
                  <c:v>2708</c:v>
                </c:pt>
                <c:pt idx="118">
                  <c:v>2703</c:v>
                </c:pt>
                <c:pt idx="119">
                  <c:v>2697</c:v>
                </c:pt>
                <c:pt idx="120">
                  <c:v>2690</c:v>
                </c:pt>
                <c:pt idx="121">
                  <c:v>2683</c:v>
                </c:pt>
                <c:pt idx="122">
                  <c:v>2674</c:v>
                </c:pt>
                <c:pt idx="123">
                  <c:v>2665</c:v>
                </c:pt>
                <c:pt idx="124">
                  <c:v>2654</c:v>
                </c:pt>
                <c:pt idx="125">
                  <c:v>2643</c:v>
                </c:pt>
                <c:pt idx="126">
                  <c:v>2630</c:v>
                </c:pt>
                <c:pt idx="127">
                  <c:v>2617</c:v>
                </c:pt>
                <c:pt idx="128">
                  <c:v>2603</c:v>
                </c:pt>
                <c:pt idx="129">
                  <c:v>2588</c:v>
                </c:pt>
                <c:pt idx="130">
                  <c:v>2572</c:v>
                </c:pt>
                <c:pt idx="131">
                  <c:v>2555</c:v>
                </c:pt>
                <c:pt idx="132">
                  <c:v>2538</c:v>
                </c:pt>
                <c:pt idx="133">
                  <c:v>2520</c:v>
                </c:pt>
                <c:pt idx="134">
                  <c:v>2501</c:v>
                </c:pt>
                <c:pt idx="135">
                  <c:v>2481</c:v>
                </c:pt>
                <c:pt idx="136">
                  <c:v>2461</c:v>
                </c:pt>
                <c:pt idx="137">
                  <c:v>2440</c:v>
                </c:pt>
                <c:pt idx="138">
                  <c:v>2419</c:v>
                </c:pt>
                <c:pt idx="139">
                  <c:v>2397</c:v>
                </c:pt>
                <c:pt idx="140">
                  <c:v>2374</c:v>
                </c:pt>
                <c:pt idx="141">
                  <c:v>2351</c:v>
                </c:pt>
                <c:pt idx="142">
                  <c:v>2327</c:v>
                </c:pt>
                <c:pt idx="143">
                  <c:v>2303</c:v>
                </c:pt>
                <c:pt idx="144">
                  <c:v>2278</c:v>
                </c:pt>
                <c:pt idx="145">
                  <c:v>2253</c:v>
                </c:pt>
                <c:pt idx="146">
                  <c:v>2227</c:v>
                </c:pt>
                <c:pt idx="147">
                  <c:v>2202</c:v>
                </c:pt>
                <c:pt idx="148">
                  <c:v>2175</c:v>
                </c:pt>
                <c:pt idx="149">
                  <c:v>2149</c:v>
                </c:pt>
                <c:pt idx="150">
                  <c:v>2122</c:v>
                </c:pt>
                <c:pt idx="151">
                  <c:v>2095</c:v>
                </c:pt>
                <c:pt idx="152">
                  <c:v>2067</c:v>
                </c:pt>
                <c:pt idx="153">
                  <c:v>2040</c:v>
                </c:pt>
                <c:pt idx="154">
                  <c:v>2012</c:v>
                </c:pt>
                <c:pt idx="155">
                  <c:v>1984</c:v>
                </c:pt>
                <c:pt idx="156">
                  <c:v>1956</c:v>
                </c:pt>
                <c:pt idx="157">
                  <c:v>1928</c:v>
                </c:pt>
                <c:pt idx="158">
                  <c:v>1900</c:v>
                </c:pt>
                <c:pt idx="159">
                  <c:v>1871</c:v>
                </c:pt>
                <c:pt idx="160">
                  <c:v>1843</c:v>
                </c:pt>
                <c:pt idx="161">
                  <c:v>1814</c:v>
                </c:pt>
                <c:pt idx="162">
                  <c:v>1786</c:v>
                </c:pt>
                <c:pt idx="163">
                  <c:v>1758</c:v>
                </c:pt>
                <c:pt idx="164">
                  <c:v>1729</c:v>
                </c:pt>
                <c:pt idx="165">
                  <c:v>1701</c:v>
                </c:pt>
                <c:pt idx="166">
                  <c:v>1673</c:v>
                </c:pt>
                <c:pt idx="167">
                  <c:v>1645</c:v>
                </c:pt>
                <c:pt idx="168">
                  <c:v>1617</c:v>
                </c:pt>
                <c:pt idx="169">
                  <c:v>1589</c:v>
                </c:pt>
                <c:pt idx="170">
                  <c:v>1561</c:v>
                </c:pt>
                <c:pt idx="171">
                  <c:v>1534</c:v>
                </c:pt>
                <c:pt idx="172">
                  <c:v>1506</c:v>
                </c:pt>
                <c:pt idx="173">
                  <c:v>1479</c:v>
                </c:pt>
                <c:pt idx="174">
                  <c:v>1452</c:v>
                </c:pt>
                <c:pt idx="175">
                  <c:v>1425</c:v>
                </c:pt>
                <c:pt idx="176">
                  <c:v>1399</c:v>
                </c:pt>
                <c:pt idx="177">
                  <c:v>1373</c:v>
                </c:pt>
                <c:pt idx="178">
                  <c:v>1347</c:v>
                </c:pt>
                <c:pt idx="179">
                  <c:v>1321</c:v>
                </c:pt>
                <c:pt idx="180">
                  <c:v>1295</c:v>
                </c:pt>
                <c:pt idx="181">
                  <c:v>12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DB-4B1D-B66D-E5F1CE700273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2304</c:v>
                </c:pt>
                <c:pt idx="89">
                  <c:v>2309</c:v>
                </c:pt>
                <c:pt idx="90">
                  <c:v>2301</c:v>
                </c:pt>
                <c:pt idx="91">
                  <c:v>2285</c:v>
                </c:pt>
                <c:pt idx="92">
                  <c:v>2265</c:v>
                </c:pt>
                <c:pt idx="93">
                  <c:v>2242</c:v>
                </c:pt>
                <c:pt idx="94">
                  <c:v>2217</c:v>
                </c:pt>
                <c:pt idx="95">
                  <c:v>2190</c:v>
                </c:pt>
                <c:pt idx="96">
                  <c:v>2162</c:v>
                </c:pt>
                <c:pt idx="97">
                  <c:v>2133</c:v>
                </c:pt>
                <c:pt idx="98">
                  <c:v>2103</c:v>
                </c:pt>
                <c:pt idx="99">
                  <c:v>2073</c:v>
                </c:pt>
                <c:pt idx="100">
                  <c:v>2042</c:v>
                </c:pt>
                <c:pt idx="101">
                  <c:v>2010</c:v>
                </c:pt>
                <c:pt idx="102">
                  <c:v>1978</c:v>
                </c:pt>
                <c:pt idx="103">
                  <c:v>1946</c:v>
                </c:pt>
                <c:pt idx="104">
                  <c:v>1913</c:v>
                </c:pt>
                <c:pt idx="105">
                  <c:v>1881</c:v>
                </c:pt>
                <c:pt idx="106">
                  <c:v>1848</c:v>
                </c:pt>
                <c:pt idx="107">
                  <c:v>1815</c:v>
                </c:pt>
                <c:pt idx="108">
                  <c:v>1783</c:v>
                </c:pt>
                <c:pt idx="109">
                  <c:v>1750</c:v>
                </c:pt>
                <c:pt idx="110">
                  <c:v>1718</c:v>
                </c:pt>
                <c:pt idx="111">
                  <c:v>1685</c:v>
                </c:pt>
                <c:pt idx="112">
                  <c:v>1653</c:v>
                </c:pt>
                <c:pt idx="113">
                  <c:v>1621</c:v>
                </c:pt>
                <c:pt idx="114">
                  <c:v>1590</c:v>
                </c:pt>
                <c:pt idx="115">
                  <c:v>1558</c:v>
                </c:pt>
                <c:pt idx="116">
                  <c:v>1527</c:v>
                </c:pt>
                <c:pt idx="117">
                  <c:v>1496</c:v>
                </c:pt>
                <c:pt idx="118">
                  <c:v>1466</c:v>
                </c:pt>
                <c:pt idx="119">
                  <c:v>1436</c:v>
                </c:pt>
                <c:pt idx="120">
                  <c:v>1406</c:v>
                </c:pt>
                <c:pt idx="121">
                  <c:v>1377</c:v>
                </c:pt>
                <c:pt idx="122">
                  <c:v>1348</c:v>
                </c:pt>
                <c:pt idx="123">
                  <c:v>1319</c:v>
                </c:pt>
                <c:pt idx="124">
                  <c:v>1291</c:v>
                </c:pt>
                <c:pt idx="125">
                  <c:v>1263</c:v>
                </c:pt>
                <c:pt idx="126">
                  <c:v>1236</c:v>
                </c:pt>
                <c:pt idx="127">
                  <c:v>1209</c:v>
                </c:pt>
                <c:pt idx="128">
                  <c:v>1183</c:v>
                </c:pt>
                <c:pt idx="129">
                  <c:v>1156</c:v>
                </c:pt>
                <c:pt idx="130">
                  <c:v>1131</c:v>
                </c:pt>
                <c:pt idx="131">
                  <c:v>1106</c:v>
                </c:pt>
                <c:pt idx="132">
                  <c:v>1081</c:v>
                </c:pt>
                <c:pt idx="133">
                  <c:v>1056</c:v>
                </c:pt>
                <c:pt idx="134">
                  <c:v>1032</c:v>
                </c:pt>
                <c:pt idx="135">
                  <c:v>1009</c:v>
                </c:pt>
                <c:pt idx="136">
                  <c:v>986</c:v>
                </c:pt>
                <c:pt idx="137">
                  <c:v>963</c:v>
                </c:pt>
                <c:pt idx="138">
                  <c:v>941</c:v>
                </c:pt>
                <c:pt idx="139">
                  <c:v>919</c:v>
                </c:pt>
                <c:pt idx="140">
                  <c:v>898</c:v>
                </c:pt>
                <c:pt idx="141">
                  <c:v>877</c:v>
                </c:pt>
                <c:pt idx="142">
                  <c:v>856</c:v>
                </c:pt>
                <c:pt idx="143">
                  <c:v>836</c:v>
                </c:pt>
                <c:pt idx="144">
                  <c:v>816</c:v>
                </c:pt>
                <c:pt idx="145">
                  <c:v>796</c:v>
                </c:pt>
                <c:pt idx="146">
                  <c:v>777</c:v>
                </c:pt>
                <c:pt idx="147">
                  <c:v>759</c:v>
                </c:pt>
                <c:pt idx="148">
                  <c:v>741</c:v>
                </c:pt>
                <c:pt idx="149">
                  <c:v>723</c:v>
                </c:pt>
                <c:pt idx="150">
                  <c:v>705</c:v>
                </c:pt>
                <c:pt idx="151">
                  <c:v>688</c:v>
                </c:pt>
                <c:pt idx="152">
                  <c:v>671</c:v>
                </c:pt>
                <c:pt idx="153">
                  <c:v>655</c:v>
                </c:pt>
                <c:pt idx="154">
                  <c:v>639</c:v>
                </c:pt>
                <c:pt idx="155">
                  <c:v>623</c:v>
                </c:pt>
                <c:pt idx="156">
                  <c:v>608</c:v>
                </c:pt>
                <c:pt idx="157">
                  <c:v>593</c:v>
                </c:pt>
                <c:pt idx="158">
                  <c:v>578</c:v>
                </c:pt>
                <c:pt idx="159">
                  <c:v>564</c:v>
                </c:pt>
                <c:pt idx="160">
                  <c:v>550</c:v>
                </c:pt>
                <c:pt idx="161">
                  <c:v>536</c:v>
                </c:pt>
                <c:pt idx="162">
                  <c:v>523</c:v>
                </c:pt>
                <c:pt idx="163">
                  <c:v>510</c:v>
                </c:pt>
                <c:pt idx="164">
                  <c:v>497</c:v>
                </c:pt>
                <c:pt idx="165">
                  <c:v>484</c:v>
                </c:pt>
                <c:pt idx="166">
                  <c:v>472</c:v>
                </c:pt>
                <c:pt idx="167">
                  <c:v>460</c:v>
                </c:pt>
                <c:pt idx="168">
                  <c:v>449</c:v>
                </c:pt>
                <c:pt idx="169">
                  <c:v>437</c:v>
                </c:pt>
                <c:pt idx="170">
                  <c:v>426</c:v>
                </c:pt>
                <c:pt idx="171">
                  <c:v>415</c:v>
                </c:pt>
                <c:pt idx="172">
                  <c:v>405</c:v>
                </c:pt>
                <c:pt idx="173">
                  <c:v>395</c:v>
                </c:pt>
                <c:pt idx="174">
                  <c:v>384</c:v>
                </c:pt>
                <c:pt idx="175">
                  <c:v>375</c:v>
                </c:pt>
                <c:pt idx="176">
                  <c:v>365</c:v>
                </c:pt>
                <c:pt idx="177">
                  <c:v>356</c:v>
                </c:pt>
                <c:pt idx="178">
                  <c:v>346</c:v>
                </c:pt>
                <c:pt idx="179">
                  <c:v>338</c:v>
                </c:pt>
                <c:pt idx="180">
                  <c:v>329</c:v>
                </c:pt>
                <c:pt idx="181">
                  <c:v>3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DB-4B1D-B66D-E5F1CE7002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0</c:formatCode>
                <c:ptCount val="182"/>
                <c:pt idx="0">
                  <c:v>840</c:v>
                </c:pt>
                <c:pt idx="1">
                  <c:v>484</c:v>
                </c:pt>
                <c:pt idx="2">
                  <c:v>627</c:v>
                </c:pt>
                <c:pt idx="3">
                  <c:v>580</c:v>
                </c:pt>
                <c:pt idx="4">
                  <c:v>421</c:v>
                </c:pt>
                <c:pt idx="5">
                  <c:v>150</c:v>
                </c:pt>
                <c:pt idx="6">
                  <c:v>594</c:v>
                </c:pt>
                <c:pt idx="7">
                  <c:v>884</c:v>
                </c:pt>
                <c:pt idx="8">
                  <c:v>820</c:v>
                </c:pt>
                <c:pt idx="9">
                  <c:v>806</c:v>
                </c:pt>
                <c:pt idx="10">
                  <c:v>858</c:v>
                </c:pt>
                <c:pt idx="11">
                  <c:v>577</c:v>
                </c:pt>
                <c:pt idx="12">
                  <c:v>142</c:v>
                </c:pt>
                <c:pt idx="13">
                  <c:v>770</c:v>
                </c:pt>
                <c:pt idx="14">
                  <c:v>1071</c:v>
                </c:pt>
                <c:pt idx="15">
                  <c:v>968</c:v>
                </c:pt>
                <c:pt idx="16">
                  <c:v>1108</c:v>
                </c:pt>
                <c:pt idx="17">
                  <c:v>1131</c:v>
                </c:pt>
                <c:pt idx="18">
                  <c:v>759</c:v>
                </c:pt>
                <c:pt idx="19">
                  <c:v>282</c:v>
                </c:pt>
                <c:pt idx="20">
                  <c:v>1025</c:v>
                </c:pt>
                <c:pt idx="21">
                  <c:v>1552</c:v>
                </c:pt>
                <c:pt idx="22">
                  <c:v>1776</c:v>
                </c:pt>
                <c:pt idx="23">
                  <c:v>634</c:v>
                </c:pt>
                <c:pt idx="24">
                  <c:v>288</c:v>
                </c:pt>
                <c:pt idx="25">
                  <c:v>344</c:v>
                </c:pt>
                <c:pt idx="26">
                  <c:v>494</c:v>
                </c:pt>
                <c:pt idx="27">
                  <c:v>1604</c:v>
                </c:pt>
                <c:pt idx="28">
                  <c:v>2377</c:v>
                </c:pt>
                <c:pt idx="29">
                  <c:v>2378</c:v>
                </c:pt>
                <c:pt idx="30">
                  <c:v>2241</c:v>
                </c:pt>
                <c:pt idx="31">
                  <c:v>364</c:v>
                </c:pt>
                <c:pt idx="32">
                  <c:v>572</c:v>
                </c:pt>
                <c:pt idx="33">
                  <c:v>822</c:v>
                </c:pt>
                <c:pt idx="34">
                  <c:v>1601</c:v>
                </c:pt>
                <c:pt idx="35">
                  <c:v>2644</c:v>
                </c:pt>
                <c:pt idx="36">
                  <c:v>2266</c:v>
                </c:pt>
                <c:pt idx="37">
                  <c:v>1976</c:v>
                </c:pt>
                <c:pt idx="38">
                  <c:v>1579</c:v>
                </c:pt>
                <c:pt idx="39">
                  <c:v>999</c:v>
                </c:pt>
                <c:pt idx="40">
                  <c:v>376</c:v>
                </c:pt>
                <c:pt idx="41">
                  <c:v>1141</c:v>
                </c:pt>
                <c:pt idx="42">
                  <c:v>1414</c:v>
                </c:pt>
                <c:pt idx="43">
                  <c:v>1495</c:v>
                </c:pt>
                <c:pt idx="44">
                  <c:v>1001</c:v>
                </c:pt>
                <c:pt idx="45">
                  <c:v>1210</c:v>
                </c:pt>
                <c:pt idx="46">
                  <c:v>688</c:v>
                </c:pt>
                <c:pt idx="47">
                  <c:v>198</c:v>
                </c:pt>
                <c:pt idx="48">
                  <c:v>1049</c:v>
                </c:pt>
                <c:pt idx="49">
                  <c:v>1242</c:v>
                </c:pt>
                <c:pt idx="50">
                  <c:v>1138</c:v>
                </c:pt>
                <c:pt idx="51">
                  <c:v>1011</c:v>
                </c:pt>
                <c:pt idx="52">
                  <c:v>1124</c:v>
                </c:pt>
                <c:pt idx="53">
                  <c:v>610</c:v>
                </c:pt>
                <c:pt idx="54">
                  <c:v>233</c:v>
                </c:pt>
                <c:pt idx="55">
                  <c:v>1028</c:v>
                </c:pt>
                <c:pt idx="56">
                  <c:v>1256</c:v>
                </c:pt>
                <c:pt idx="57">
                  <c:v>1187</c:v>
                </c:pt>
                <c:pt idx="58">
                  <c:v>952</c:v>
                </c:pt>
                <c:pt idx="59">
                  <c:v>1024</c:v>
                </c:pt>
                <c:pt idx="60">
                  <c:v>516</c:v>
                </c:pt>
                <c:pt idx="61">
                  <c:v>259</c:v>
                </c:pt>
                <c:pt idx="62">
                  <c:v>1067</c:v>
                </c:pt>
                <c:pt idx="63">
                  <c:v>1474</c:v>
                </c:pt>
                <c:pt idx="64">
                  <c:v>1323</c:v>
                </c:pt>
                <c:pt idx="65">
                  <c:v>1193</c:v>
                </c:pt>
                <c:pt idx="66">
                  <c:v>1301</c:v>
                </c:pt>
                <c:pt idx="67">
                  <c:v>780</c:v>
                </c:pt>
                <c:pt idx="68">
                  <c:v>287</c:v>
                </c:pt>
                <c:pt idx="69">
                  <c:v>1237</c:v>
                </c:pt>
                <c:pt idx="70">
                  <c:v>1446</c:v>
                </c:pt>
                <c:pt idx="71">
                  <c:v>1549</c:v>
                </c:pt>
                <c:pt idx="72">
                  <c:v>1356</c:v>
                </c:pt>
                <c:pt idx="73">
                  <c:v>1208</c:v>
                </c:pt>
                <c:pt idx="74">
                  <c:v>965</c:v>
                </c:pt>
                <c:pt idx="75">
                  <c:v>382</c:v>
                </c:pt>
                <c:pt idx="76">
                  <c:v>1361</c:v>
                </c:pt>
                <c:pt idx="77">
                  <c:v>2017</c:v>
                </c:pt>
                <c:pt idx="78">
                  <c:v>1827</c:v>
                </c:pt>
                <c:pt idx="79">
                  <c:v>1867</c:v>
                </c:pt>
                <c:pt idx="80">
                  <c:v>1983</c:v>
                </c:pt>
                <c:pt idx="81">
                  <c:v>1260</c:v>
                </c:pt>
                <c:pt idx="82">
                  <c:v>669</c:v>
                </c:pt>
                <c:pt idx="83">
                  <c:v>1795</c:v>
                </c:pt>
                <c:pt idx="84">
                  <c:v>2595</c:v>
                </c:pt>
                <c:pt idx="85">
                  <c:v>2202</c:v>
                </c:pt>
                <c:pt idx="86">
                  <c:v>2397</c:v>
                </c:pt>
                <c:pt idx="87">
                  <c:v>2377</c:v>
                </c:pt>
                <c:pt idx="88">
                  <c:v>1559</c:v>
                </c:pt>
                <c:pt idx="89">
                  <c:v>796</c:v>
                </c:pt>
                <c:pt idx="90">
                  <c:v>1927</c:v>
                </c:pt>
                <c:pt idx="91">
                  <c:v>2908</c:v>
                </c:pt>
                <c:pt idx="92">
                  <c:v>2451</c:v>
                </c:pt>
                <c:pt idx="93">
                  <c:v>2612</c:v>
                </c:pt>
                <c:pt idx="94">
                  <c:v>2160</c:v>
                </c:pt>
                <c:pt idx="95">
                  <c:v>1763</c:v>
                </c:pt>
                <c:pt idx="96">
                  <c:v>703</c:v>
                </c:pt>
                <c:pt idx="97">
                  <c:v>1560</c:v>
                </c:pt>
                <c:pt idx="98">
                  <c:v>2643</c:v>
                </c:pt>
                <c:pt idx="99">
                  <c:v>2375</c:v>
                </c:pt>
                <c:pt idx="100">
                  <c:v>1703</c:v>
                </c:pt>
                <c:pt idx="101">
                  <c:v>2454</c:v>
                </c:pt>
                <c:pt idx="102">
                  <c:v>1286</c:v>
                </c:pt>
                <c:pt idx="103">
                  <c:v>559</c:v>
                </c:pt>
                <c:pt idx="104">
                  <c:v>1448</c:v>
                </c:pt>
                <c:pt idx="105">
                  <c:v>2331</c:v>
                </c:pt>
                <c:pt idx="106">
                  <c:v>1792</c:v>
                </c:pt>
                <c:pt idx="107">
                  <c:v>1578</c:v>
                </c:pt>
                <c:pt idx="108">
                  <c:v>1532</c:v>
                </c:pt>
                <c:pt idx="109">
                  <c:v>879</c:v>
                </c:pt>
                <c:pt idx="110">
                  <c:v>344</c:v>
                </c:pt>
                <c:pt idx="111">
                  <c:v>1241</c:v>
                </c:pt>
                <c:pt idx="112">
                  <c:v>1691</c:v>
                </c:pt>
                <c:pt idx="113">
                  <c:v>1202</c:v>
                </c:pt>
                <c:pt idx="114">
                  <c:v>1119</c:v>
                </c:pt>
                <c:pt idx="115">
                  <c:v>1196</c:v>
                </c:pt>
                <c:pt idx="116">
                  <c:v>598</c:v>
                </c:pt>
                <c:pt idx="117">
                  <c:v>233</c:v>
                </c:pt>
                <c:pt idx="118">
                  <c:v>971</c:v>
                </c:pt>
                <c:pt idx="119">
                  <c:v>1254</c:v>
                </c:pt>
                <c:pt idx="120">
                  <c:v>890</c:v>
                </c:pt>
                <c:pt idx="121">
                  <c:v>662</c:v>
                </c:pt>
                <c:pt idx="122">
                  <c:v>478</c:v>
                </c:pt>
                <c:pt idx="123">
                  <c:v>309</c:v>
                </c:pt>
                <c:pt idx="124">
                  <c:v>267</c:v>
                </c:pt>
                <c:pt idx="125">
                  <c:v>233</c:v>
                </c:pt>
                <c:pt idx="126">
                  <c:v>750</c:v>
                </c:pt>
                <c:pt idx="127">
                  <c:v>900</c:v>
                </c:pt>
                <c:pt idx="128">
                  <c:v>526</c:v>
                </c:pt>
                <c:pt idx="129">
                  <c:v>506</c:v>
                </c:pt>
                <c:pt idx="130">
                  <c:v>282</c:v>
                </c:pt>
                <c:pt idx="131">
                  <c:v>134</c:v>
                </c:pt>
                <c:pt idx="132">
                  <c:v>439</c:v>
                </c:pt>
                <c:pt idx="133">
                  <c:v>560</c:v>
                </c:pt>
                <c:pt idx="134">
                  <c:v>442</c:v>
                </c:pt>
                <c:pt idx="135">
                  <c:v>359</c:v>
                </c:pt>
                <c:pt idx="136">
                  <c:v>360</c:v>
                </c:pt>
                <c:pt idx="137">
                  <c:v>188</c:v>
                </c:pt>
                <c:pt idx="138">
                  <c:v>92</c:v>
                </c:pt>
                <c:pt idx="139">
                  <c:v>352</c:v>
                </c:pt>
                <c:pt idx="140">
                  <c:v>462</c:v>
                </c:pt>
                <c:pt idx="141">
                  <c:v>271</c:v>
                </c:pt>
                <c:pt idx="142">
                  <c:v>319</c:v>
                </c:pt>
                <c:pt idx="143">
                  <c:v>254</c:v>
                </c:pt>
                <c:pt idx="144">
                  <c:v>186</c:v>
                </c:pt>
                <c:pt idx="145">
                  <c:v>92</c:v>
                </c:pt>
                <c:pt idx="146">
                  <c:v>341</c:v>
                </c:pt>
                <c:pt idx="147">
                  <c:v>328</c:v>
                </c:pt>
                <c:pt idx="148">
                  <c:v>251</c:v>
                </c:pt>
                <c:pt idx="149">
                  <c:v>222</c:v>
                </c:pt>
                <c:pt idx="150">
                  <c:v>237</c:v>
                </c:pt>
                <c:pt idx="151">
                  <c:v>113</c:v>
                </c:pt>
                <c:pt idx="152">
                  <c:v>64</c:v>
                </c:pt>
                <c:pt idx="153">
                  <c:v>279</c:v>
                </c:pt>
                <c:pt idx="154">
                  <c:v>278</c:v>
                </c:pt>
                <c:pt idx="155">
                  <c:v>157</c:v>
                </c:pt>
                <c:pt idx="156">
                  <c:v>167</c:v>
                </c:pt>
                <c:pt idx="157">
                  <c:v>165</c:v>
                </c:pt>
                <c:pt idx="158">
                  <c:v>90</c:v>
                </c:pt>
                <c:pt idx="159">
                  <c:v>32</c:v>
                </c:pt>
                <c:pt idx="160">
                  <c:v>116</c:v>
                </c:pt>
                <c:pt idx="161">
                  <c:v>196</c:v>
                </c:pt>
                <c:pt idx="162">
                  <c:v>130</c:v>
                </c:pt>
                <c:pt idx="163">
                  <c:v>142</c:v>
                </c:pt>
                <c:pt idx="164">
                  <c:v>127</c:v>
                </c:pt>
                <c:pt idx="165">
                  <c:v>66</c:v>
                </c:pt>
                <c:pt idx="166">
                  <c:v>19</c:v>
                </c:pt>
                <c:pt idx="167">
                  <c:v>119</c:v>
                </c:pt>
                <c:pt idx="168">
                  <c:v>122</c:v>
                </c:pt>
                <c:pt idx="169">
                  <c:v>59</c:v>
                </c:pt>
                <c:pt idx="170">
                  <c:v>43</c:v>
                </c:pt>
                <c:pt idx="171">
                  <c:v>65</c:v>
                </c:pt>
                <c:pt idx="172">
                  <c:v>22</c:v>
                </c:pt>
                <c:pt idx="173">
                  <c:v>12</c:v>
                </c:pt>
                <c:pt idx="174">
                  <c:v>80</c:v>
                </c:pt>
                <c:pt idx="175">
                  <c:v>46</c:v>
                </c:pt>
                <c:pt idx="176">
                  <c:v>47</c:v>
                </c:pt>
                <c:pt idx="177">
                  <c:v>46</c:v>
                </c:pt>
                <c:pt idx="178">
                  <c:v>44</c:v>
                </c:pt>
                <c:pt idx="179">
                  <c:v>26</c:v>
                </c:pt>
                <c:pt idx="18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23-4CDC-98C5-ED3A7348CB6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SCENAR IIB/IIA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2103</c:v>
                </c:pt>
                <c:pt idx="89">
                  <c:v>2103</c:v>
                </c:pt>
                <c:pt idx="90">
                  <c:v>2090</c:v>
                </c:pt>
                <c:pt idx="91">
                  <c:v>2070</c:v>
                </c:pt>
                <c:pt idx="92">
                  <c:v>2046</c:v>
                </c:pt>
                <c:pt idx="93">
                  <c:v>2020</c:v>
                </c:pt>
                <c:pt idx="94">
                  <c:v>1991</c:v>
                </c:pt>
                <c:pt idx="95">
                  <c:v>1961</c:v>
                </c:pt>
                <c:pt idx="96">
                  <c:v>1931</c:v>
                </c:pt>
                <c:pt idx="97">
                  <c:v>1899</c:v>
                </c:pt>
                <c:pt idx="98">
                  <c:v>1867</c:v>
                </c:pt>
                <c:pt idx="99">
                  <c:v>1834</c:v>
                </c:pt>
                <c:pt idx="100">
                  <c:v>1800</c:v>
                </c:pt>
                <c:pt idx="101">
                  <c:v>1766</c:v>
                </c:pt>
                <c:pt idx="102">
                  <c:v>1731</c:v>
                </c:pt>
                <c:pt idx="103">
                  <c:v>1696</c:v>
                </c:pt>
                <c:pt idx="104">
                  <c:v>1661</c:v>
                </c:pt>
                <c:pt idx="105">
                  <c:v>1625</c:v>
                </c:pt>
                <c:pt idx="106">
                  <c:v>1590</c:v>
                </c:pt>
                <c:pt idx="107">
                  <c:v>1555</c:v>
                </c:pt>
                <c:pt idx="108">
                  <c:v>1519</c:v>
                </c:pt>
                <c:pt idx="109">
                  <c:v>1483</c:v>
                </c:pt>
                <c:pt idx="110">
                  <c:v>1448</c:v>
                </c:pt>
                <c:pt idx="111">
                  <c:v>1412</c:v>
                </c:pt>
                <c:pt idx="112">
                  <c:v>1378</c:v>
                </c:pt>
                <c:pt idx="113">
                  <c:v>1343</c:v>
                </c:pt>
                <c:pt idx="114">
                  <c:v>1309</c:v>
                </c:pt>
                <c:pt idx="115">
                  <c:v>1275</c:v>
                </c:pt>
                <c:pt idx="116">
                  <c:v>1242</c:v>
                </c:pt>
                <c:pt idx="117">
                  <c:v>1209</c:v>
                </c:pt>
                <c:pt idx="118">
                  <c:v>1177</c:v>
                </c:pt>
                <c:pt idx="119">
                  <c:v>1145</c:v>
                </c:pt>
                <c:pt idx="120">
                  <c:v>1114</c:v>
                </c:pt>
                <c:pt idx="121">
                  <c:v>1084</c:v>
                </c:pt>
                <c:pt idx="122">
                  <c:v>1054</c:v>
                </c:pt>
                <c:pt idx="123">
                  <c:v>1024</c:v>
                </c:pt>
                <c:pt idx="124">
                  <c:v>996</c:v>
                </c:pt>
                <c:pt idx="125">
                  <c:v>968</c:v>
                </c:pt>
                <c:pt idx="126">
                  <c:v>941</c:v>
                </c:pt>
                <c:pt idx="127">
                  <c:v>914</c:v>
                </c:pt>
                <c:pt idx="128">
                  <c:v>888</c:v>
                </c:pt>
                <c:pt idx="129">
                  <c:v>862</c:v>
                </c:pt>
                <c:pt idx="130">
                  <c:v>837</c:v>
                </c:pt>
                <c:pt idx="131">
                  <c:v>813</c:v>
                </c:pt>
                <c:pt idx="132">
                  <c:v>789</c:v>
                </c:pt>
                <c:pt idx="133">
                  <c:v>765</c:v>
                </c:pt>
                <c:pt idx="134">
                  <c:v>742</c:v>
                </c:pt>
                <c:pt idx="135">
                  <c:v>719</c:v>
                </c:pt>
                <c:pt idx="136">
                  <c:v>697</c:v>
                </c:pt>
                <c:pt idx="137">
                  <c:v>675</c:v>
                </c:pt>
                <c:pt idx="138">
                  <c:v>654</c:v>
                </c:pt>
                <c:pt idx="139">
                  <c:v>633</c:v>
                </c:pt>
                <c:pt idx="140">
                  <c:v>613</c:v>
                </c:pt>
                <c:pt idx="141">
                  <c:v>593</c:v>
                </c:pt>
                <c:pt idx="142">
                  <c:v>574</c:v>
                </c:pt>
                <c:pt idx="143">
                  <c:v>555</c:v>
                </c:pt>
                <c:pt idx="144">
                  <c:v>537</c:v>
                </c:pt>
                <c:pt idx="145">
                  <c:v>519</c:v>
                </c:pt>
                <c:pt idx="146">
                  <c:v>502</c:v>
                </c:pt>
                <c:pt idx="147">
                  <c:v>485</c:v>
                </c:pt>
                <c:pt idx="148">
                  <c:v>469</c:v>
                </c:pt>
                <c:pt idx="149">
                  <c:v>453</c:v>
                </c:pt>
                <c:pt idx="150">
                  <c:v>438</c:v>
                </c:pt>
                <c:pt idx="151">
                  <c:v>423</c:v>
                </c:pt>
                <c:pt idx="152">
                  <c:v>408</c:v>
                </c:pt>
                <c:pt idx="153">
                  <c:v>394</c:v>
                </c:pt>
                <c:pt idx="154">
                  <c:v>381</c:v>
                </c:pt>
                <c:pt idx="155">
                  <c:v>368</c:v>
                </c:pt>
                <c:pt idx="156">
                  <c:v>355</c:v>
                </c:pt>
                <c:pt idx="157">
                  <c:v>343</c:v>
                </c:pt>
                <c:pt idx="158">
                  <c:v>331</c:v>
                </c:pt>
                <c:pt idx="159">
                  <c:v>319</c:v>
                </c:pt>
                <c:pt idx="160">
                  <c:v>307</c:v>
                </c:pt>
                <c:pt idx="161">
                  <c:v>295</c:v>
                </c:pt>
                <c:pt idx="162">
                  <c:v>283</c:v>
                </c:pt>
                <c:pt idx="163">
                  <c:v>271</c:v>
                </c:pt>
                <c:pt idx="164">
                  <c:v>260</c:v>
                </c:pt>
                <c:pt idx="165">
                  <c:v>248</c:v>
                </c:pt>
                <c:pt idx="166">
                  <c:v>237</c:v>
                </c:pt>
                <c:pt idx="167">
                  <c:v>225</c:v>
                </c:pt>
                <c:pt idx="168">
                  <c:v>215</c:v>
                </c:pt>
                <c:pt idx="169">
                  <c:v>204</c:v>
                </c:pt>
                <c:pt idx="170">
                  <c:v>194</c:v>
                </c:pt>
                <c:pt idx="171">
                  <c:v>184</c:v>
                </c:pt>
                <c:pt idx="172">
                  <c:v>174</c:v>
                </c:pt>
                <c:pt idx="173">
                  <c:v>165</c:v>
                </c:pt>
                <c:pt idx="174">
                  <c:v>156</c:v>
                </c:pt>
                <c:pt idx="175">
                  <c:v>148</c:v>
                </c:pt>
                <c:pt idx="176">
                  <c:v>140</c:v>
                </c:pt>
                <c:pt idx="177">
                  <c:v>133</c:v>
                </c:pt>
                <c:pt idx="178">
                  <c:v>125</c:v>
                </c:pt>
                <c:pt idx="179">
                  <c:v>119</c:v>
                </c:pt>
                <c:pt idx="180">
                  <c:v>113</c:v>
                </c:pt>
                <c:pt idx="181">
                  <c:v>1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23-4CDC-98C5-ED3A7348CB62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SCENAR C/II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2304</c:v>
                </c:pt>
                <c:pt idx="89">
                  <c:v>2309</c:v>
                </c:pt>
                <c:pt idx="90">
                  <c:v>2301</c:v>
                </c:pt>
                <c:pt idx="91">
                  <c:v>2285</c:v>
                </c:pt>
                <c:pt idx="92">
                  <c:v>2265</c:v>
                </c:pt>
                <c:pt idx="93">
                  <c:v>2242</c:v>
                </c:pt>
                <c:pt idx="94">
                  <c:v>2217</c:v>
                </c:pt>
                <c:pt idx="95">
                  <c:v>2190</c:v>
                </c:pt>
                <c:pt idx="96">
                  <c:v>2162</c:v>
                </c:pt>
                <c:pt idx="97">
                  <c:v>2133</c:v>
                </c:pt>
                <c:pt idx="98">
                  <c:v>2103</c:v>
                </c:pt>
                <c:pt idx="99">
                  <c:v>2073</c:v>
                </c:pt>
                <c:pt idx="100">
                  <c:v>2042</c:v>
                </c:pt>
                <c:pt idx="101">
                  <c:v>2010</c:v>
                </c:pt>
                <c:pt idx="102">
                  <c:v>1978</c:v>
                </c:pt>
                <c:pt idx="103">
                  <c:v>1946</c:v>
                </c:pt>
                <c:pt idx="104">
                  <c:v>1913</c:v>
                </c:pt>
                <c:pt idx="105">
                  <c:v>1881</c:v>
                </c:pt>
                <c:pt idx="106">
                  <c:v>1848</c:v>
                </c:pt>
                <c:pt idx="107">
                  <c:v>1815</c:v>
                </c:pt>
                <c:pt idx="108">
                  <c:v>1783</c:v>
                </c:pt>
                <c:pt idx="109">
                  <c:v>1750</c:v>
                </c:pt>
                <c:pt idx="110">
                  <c:v>1718</c:v>
                </c:pt>
                <c:pt idx="111">
                  <c:v>1685</c:v>
                </c:pt>
                <c:pt idx="112">
                  <c:v>1653</c:v>
                </c:pt>
                <c:pt idx="113">
                  <c:v>1621</c:v>
                </c:pt>
                <c:pt idx="114">
                  <c:v>1590</c:v>
                </c:pt>
                <c:pt idx="115">
                  <c:v>1558</c:v>
                </c:pt>
                <c:pt idx="116">
                  <c:v>1527</c:v>
                </c:pt>
                <c:pt idx="117">
                  <c:v>1496</c:v>
                </c:pt>
                <c:pt idx="118">
                  <c:v>1466</c:v>
                </c:pt>
                <c:pt idx="119">
                  <c:v>1436</c:v>
                </c:pt>
                <c:pt idx="120">
                  <c:v>1406</c:v>
                </c:pt>
                <c:pt idx="121">
                  <c:v>1377</c:v>
                </c:pt>
                <c:pt idx="122">
                  <c:v>1348</c:v>
                </c:pt>
                <c:pt idx="123">
                  <c:v>1319</c:v>
                </c:pt>
                <c:pt idx="124">
                  <c:v>1291</c:v>
                </c:pt>
                <c:pt idx="125">
                  <c:v>1263</c:v>
                </c:pt>
                <c:pt idx="126">
                  <c:v>1236</c:v>
                </c:pt>
                <c:pt idx="127">
                  <c:v>1209</c:v>
                </c:pt>
                <c:pt idx="128">
                  <c:v>1183</c:v>
                </c:pt>
                <c:pt idx="129">
                  <c:v>1156</c:v>
                </c:pt>
                <c:pt idx="130">
                  <c:v>1131</c:v>
                </c:pt>
                <c:pt idx="131">
                  <c:v>1106</c:v>
                </c:pt>
                <c:pt idx="132">
                  <c:v>1081</c:v>
                </c:pt>
                <c:pt idx="133">
                  <c:v>1056</c:v>
                </c:pt>
                <c:pt idx="134">
                  <c:v>1032</c:v>
                </c:pt>
                <c:pt idx="135">
                  <c:v>1009</c:v>
                </c:pt>
                <c:pt idx="136">
                  <c:v>986</c:v>
                </c:pt>
                <c:pt idx="137">
                  <c:v>963</c:v>
                </c:pt>
                <c:pt idx="138">
                  <c:v>941</c:v>
                </c:pt>
                <c:pt idx="139">
                  <c:v>919</c:v>
                </c:pt>
                <c:pt idx="140">
                  <c:v>898</c:v>
                </c:pt>
                <c:pt idx="141">
                  <c:v>877</c:v>
                </c:pt>
                <c:pt idx="142">
                  <c:v>856</c:v>
                </c:pt>
                <c:pt idx="143">
                  <c:v>836</c:v>
                </c:pt>
                <c:pt idx="144">
                  <c:v>816</c:v>
                </c:pt>
                <c:pt idx="145">
                  <c:v>796</c:v>
                </c:pt>
                <c:pt idx="146">
                  <c:v>777</c:v>
                </c:pt>
                <c:pt idx="147">
                  <c:v>759</c:v>
                </c:pt>
                <c:pt idx="148">
                  <c:v>741</c:v>
                </c:pt>
                <c:pt idx="149">
                  <c:v>723</c:v>
                </c:pt>
                <c:pt idx="150">
                  <c:v>705</c:v>
                </c:pt>
                <c:pt idx="151">
                  <c:v>688</c:v>
                </c:pt>
                <c:pt idx="152">
                  <c:v>671</c:v>
                </c:pt>
                <c:pt idx="153">
                  <c:v>655</c:v>
                </c:pt>
                <c:pt idx="154">
                  <c:v>639</c:v>
                </c:pt>
                <c:pt idx="155">
                  <c:v>623</c:v>
                </c:pt>
                <c:pt idx="156">
                  <c:v>608</c:v>
                </c:pt>
                <c:pt idx="157">
                  <c:v>593</c:v>
                </c:pt>
                <c:pt idx="158">
                  <c:v>578</c:v>
                </c:pt>
                <c:pt idx="159">
                  <c:v>564</c:v>
                </c:pt>
                <c:pt idx="160">
                  <c:v>550</c:v>
                </c:pt>
                <c:pt idx="161">
                  <c:v>536</c:v>
                </c:pt>
                <c:pt idx="162">
                  <c:v>523</c:v>
                </c:pt>
                <c:pt idx="163">
                  <c:v>510</c:v>
                </c:pt>
                <c:pt idx="164">
                  <c:v>497</c:v>
                </c:pt>
                <c:pt idx="165">
                  <c:v>484</c:v>
                </c:pt>
                <c:pt idx="166">
                  <c:v>472</c:v>
                </c:pt>
                <c:pt idx="167">
                  <c:v>460</c:v>
                </c:pt>
                <c:pt idx="168">
                  <c:v>449</c:v>
                </c:pt>
                <c:pt idx="169">
                  <c:v>437</c:v>
                </c:pt>
                <c:pt idx="170">
                  <c:v>426</c:v>
                </c:pt>
                <c:pt idx="171">
                  <c:v>415</c:v>
                </c:pt>
                <c:pt idx="172">
                  <c:v>405</c:v>
                </c:pt>
                <c:pt idx="173">
                  <c:v>395</c:v>
                </c:pt>
                <c:pt idx="174">
                  <c:v>384</c:v>
                </c:pt>
                <c:pt idx="175">
                  <c:v>375</c:v>
                </c:pt>
                <c:pt idx="176">
                  <c:v>365</c:v>
                </c:pt>
                <c:pt idx="177">
                  <c:v>356</c:v>
                </c:pt>
                <c:pt idx="178">
                  <c:v>346</c:v>
                </c:pt>
                <c:pt idx="179">
                  <c:v>338</c:v>
                </c:pt>
                <c:pt idx="180">
                  <c:v>329</c:v>
                </c:pt>
                <c:pt idx="181">
                  <c:v>3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23-4CDC-98C5-ED3A7348CB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840</c:v>
                </c:pt>
                <c:pt idx="1">
                  <c:v>484</c:v>
                </c:pt>
                <c:pt idx="2">
                  <c:v>627</c:v>
                </c:pt>
                <c:pt idx="3">
                  <c:v>580</c:v>
                </c:pt>
                <c:pt idx="4">
                  <c:v>421</c:v>
                </c:pt>
                <c:pt idx="5">
                  <c:v>150</c:v>
                </c:pt>
                <c:pt idx="6">
                  <c:v>594</c:v>
                </c:pt>
                <c:pt idx="7">
                  <c:v>884</c:v>
                </c:pt>
                <c:pt idx="8">
                  <c:v>820</c:v>
                </c:pt>
                <c:pt idx="9">
                  <c:v>806</c:v>
                </c:pt>
                <c:pt idx="10">
                  <c:v>858</c:v>
                </c:pt>
                <c:pt idx="11">
                  <c:v>577</c:v>
                </c:pt>
                <c:pt idx="12">
                  <c:v>142</c:v>
                </c:pt>
                <c:pt idx="13">
                  <c:v>770</c:v>
                </c:pt>
                <c:pt idx="14">
                  <c:v>1071</c:v>
                </c:pt>
                <c:pt idx="15">
                  <c:v>968</c:v>
                </c:pt>
                <c:pt idx="16">
                  <c:v>1108</c:v>
                </c:pt>
                <c:pt idx="17">
                  <c:v>1131</c:v>
                </c:pt>
                <c:pt idx="18">
                  <c:v>759</c:v>
                </c:pt>
                <c:pt idx="19">
                  <c:v>282</c:v>
                </c:pt>
                <c:pt idx="20">
                  <c:v>1025</c:v>
                </c:pt>
                <c:pt idx="21">
                  <c:v>1552</c:v>
                </c:pt>
                <c:pt idx="22">
                  <c:v>1776</c:v>
                </c:pt>
                <c:pt idx="23">
                  <c:v>634</c:v>
                </c:pt>
                <c:pt idx="24">
                  <c:v>288</c:v>
                </c:pt>
                <c:pt idx="25">
                  <c:v>344</c:v>
                </c:pt>
                <c:pt idx="26">
                  <c:v>494</c:v>
                </c:pt>
                <c:pt idx="27">
                  <c:v>1604</c:v>
                </c:pt>
                <c:pt idx="28">
                  <c:v>2377</c:v>
                </c:pt>
                <c:pt idx="29">
                  <c:v>2378</c:v>
                </c:pt>
                <c:pt idx="30">
                  <c:v>2241</c:v>
                </c:pt>
                <c:pt idx="31">
                  <c:v>364</c:v>
                </c:pt>
                <c:pt idx="32">
                  <c:v>572</c:v>
                </c:pt>
                <c:pt idx="33">
                  <c:v>822</c:v>
                </c:pt>
                <c:pt idx="34">
                  <c:v>1601</c:v>
                </c:pt>
                <c:pt idx="35">
                  <c:v>2644</c:v>
                </c:pt>
                <c:pt idx="36">
                  <c:v>2266</c:v>
                </c:pt>
                <c:pt idx="37">
                  <c:v>1976</c:v>
                </c:pt>
                <c:pt idx="38">
                  <c:v>1579</c:v>
                </c:pt>
                <c:pt idx="39">
                  <c:v>999</c:v>
                </c:pt>
                <c:pt idx="40">
                  <c:v>376</c:v>
                </c:pt>
                <c:pt idx="41">
                  <c:v>1141</c:v>
                </c:pt>
                <c:pt idx="42">
                  <c:v>1414</c:v>
                </c:pt>
                <c:pt idx="43">
                  <c:v>1495</c:v>
                </c:pt>
                <c:pt idx="44">
                  <c:v>1001</c:v>
                </c:pt>
                <c:pt idx="45">
                  <c:v>1210</c:v>
                </c:pt>
                <c:pt idx="46">
                  <c:v>688</c:v>
                </c:pt>
                <c:pt idx="47">
                  <c:v>198</c:v>
                </c:pt>
                <c:pt idx="48">
                  <c:v>1049</c:v>
                </c:pt>
                <c:pt idx="49">
                  <c:v>1242</c:v>
                </c:pt>
                <c:pt idx="50">
                  <c:v>1138</c:v>
                </c:pt>
                <c:pt idx="51">
                  <c:v>1011</c:v>
                </c:pt>
                <c:pt idx="52">
                  <c:v>1124</c:v>
                </c:pt>
                <c:pt idx="53">
                  <c:v>610</c:v>
                </c:pt>
                <c:pt idx="54">
                  <c:v>233</c:v>
                </c:pt>
                <c:pt idx="55">
                  <c:v>1028</c:v>
                </c:pt>
                <c:pt idx="56">
                  <c:v>1256</c:v>
                </c:pt>
                <c:pt idx="57">
                  <c:v>1187</c:v>
                </c:pt>
                <c:pt idx="58">
                  <c:v>952</c:v>
                </c:pt>
                <c:pt idx="59">
                  <c:v>1024</c:v>
                </c:pt>
                <c:pt idx="60">
                  <c:v>516</c:v>
                </c:pt>
                <c:pt idx="61">
                  <c:v>259</c:v>
                </c:pt>
                <c:pt idx="62">
                  <c:v>1067</c:v>
                </c:pt>
                <c:pt idx="63">
                  <c:v>1474</c:v>
                </c:pt>
                <c:pt idx="64">
                  <c:v>1323</c:v>
                </c:pt>
                <c:pt idx="65">
                  <c:v>1193</c:v>
                </c:pt>
                <c:pt idx="66">
                  <c:v>1301</c:v>
                </c:pt>
                <c:pt idx="67">
                  <c:v>780</c:v>
                </c:pt>
                <c:pt idx="68">
                  <c:v>287</c:v>
                </c:pt>
                <c:pt idx="69">
                  <c:v>1237</c:v>
                </c:pt>
                <c:pt idx="70">
                  <c:v>1446</c:v>
                </c:pt>
                <c:pt idx="71">
                  <c:v>1549</c:v>
                </c:pt>
                <c:pt idx="72">
                  <c:v>1356</c:v>
                </c:pt>
                <c:pt idx="73">
                  <c:v>1208</c:v>
                </c:pt>
                <c:pt idx="74">
                  <c:v>965</c:v>
                </c:pt>
                <c:pt idx="75">
                  <c:v>382</c:v>
                </c:pt>
                <c:pt idx="76">
                  <c:v>1361</c:v>
                </c:pt>
                <c:pt idx="77">
                  <c:v>2017</c:v>
                </c:pt>
                <c:pt idx="78">
                  <c:v>1827</c:v>
                </c:pt>
                <c:pt idx="79">
                  <c:v>1867</c:v>
                </c:pt>
                <c:pt idx="80">
                  <c:v>1983</c:v>
                </c:pt>
                <c:pt idx="81">
                  <c:v>1260</c:v>
                </c:pt>
                <c:pt idx="82">
                  <c:v>669</c:v>
                </c:pt>
                <c:pt idx="83">
                  <c:v>1795</c:v>
                </c:pt>
                <c:pt idx="84">
                  <c:v>2595</c:v>
                </c:pt>
                <c:pt idx="85">
                  <c:v>2202</c:v>
                </c:pt>
                <c:pt idx="86">
                  <c:v>2397</c:v>
                </c:pt>
                <c:pt idx="87">
                  <c:v>2377</c:v>
                </c:pt>
                <c:pt idx="88">
                  <c:v>1559</c:v>
                </c:pt>
                <c:pt idx="89">
                  <c:v>796</c:v>
                </c:pt>
                <c:pt idx="90">
                  <c:v>1927</c:v>
                </c:pt>
                <c:pt idx="91">
                  <c:v>2908</c:v>
                </c:pt>
                <c:pt idx="92">
                  <c:v>2451</c:v>
                </c:pt>
                <c:pt idx="93">
                  <c:v>2612</c:v>
                </c:pt>
                <c:pt idx="94">
                  <c:v>2160</c:v>
                </c:pt>
                <c:pt idx="95">
                  <c:v>1763</c:v>
                </c:pt>
                <c:pt idx="96">
                  <c:v>703</c:v>
                </c:pt>
                <c:pt idx="97">
                  <c:v>1560</c:v>
                </c:pt>
                <c:pt idx="98">
                  <c:v>2643</c:v>
                </c:pt>
                <c:pt idx="99">
                  <c:v>2375</c:v>
                </c:pt>
                <c:pt idx="100">
                  <c:v>1703</c:v>
                </c:pt>
                <c:pt idx="101">
                  <c:v>2454</c:v>
                </c:pt>
                <c:pt idx="102">
                  <c:v>1286</c:v>
                </c:pt>
                <c:pt idx="103">
                  <c:v>559</c:v>
                </c:pt>
                <c:pt idx="104">
                  <c:v>1448</c:v>
                </c:pt>
                <c:pt idx="105">
                  <c:v>2331</c:v>
                </c:pt>
                <c:pt idx="106">
                  <c:v>1792</c:v>
                </c:pt>
                <c:pt idx="107">
                  <c:v>1578</c:v>
                </c:pt>
                <c:pt idx="108">
                  <c:v>1532</c:v>
                </c:pt>
                <c:pt idx="109">
                  <c:v>879</c:v>
                </c:pt>
                <c:pt idx="110">
                  <c:v>344</c:v>
                </c:pt>
                <c:pt idx="111">
                  <c:v>1241</c:v>
                </c:pt>
                <c:pt idx="112">
                  <c:v>1691</c:v>
                </c:pt>
                <c:pt idx="113">
                  <c:v>1202</c:v>
                </c:pt>
                <c:pt idx="114">
                  <c:v>1119</c:v>
                </c:pt>
                <c:pt idx="115">
                  <c:v>1196</c:v>
                </c:pt>
                <c:pt idx="116">
                  <c:v>598</c:v>
                </c:pt>
                <c:pt idx="117">
                  <c:v>233</c:v>
                </c:pt>
                <c:pt idx="118">
                  <c:v>971</c:v>
                </c:pt>
                <c:pt idx="119">
                  <c:v>1254</c:v>
                </c:pt>
                <c:pt idx="120">
                  <c:v>890</c:v>
                </c:pt>
                <c:pt idx="121">
                  <c:v>662</c:v>
                </c:pt>
                <c:pt idx="122">
                  <c:v>478</c:v>
                </c:pt>
                <c:pt idx="123">
                  <c:v>309</c:v>
                </c:pt>
                <c:pt idx="124">
                  <c:v>267</c:v>
                </c:pt>
                <c:pt idx="125">
                  <c:v>233</c:v>
                </c:pt>
                <c:pt idx="126">
                  <c:v>750</c:v>
                </c:pt>
                <c:pt idx="127">
                  <c:v>900</c:v>
                </c:pt>
                <c:pt idx="128">
                  <c:v>526</c:v>
                </c:pt>
                <c:pt idx="129">
                  <c:v>506</c:v>
                </c:pt>
                <c:pt idx="130">
                  <c:v>282</c:v>
                </c:pt>
                <c:pt idx="131">
                  <c:v>134</c:v>
                </c:pt>
                <c:pt idx="132">
                  <c:v>439</c:v>
                </c:pt>
                <c:pt idx="133">
                  <c:v>560</c:v>
                </c:pt>
                <c:pt idx="134">
                  <c:v>442</c:v>
                </c:pt>
                <c:pt idx="135">
                  <c:v>359</c:v>
                </c:pt>
                <c:pt idx="136">
                  <c:v>360</c:v>
                </c:pt>
                <c:pt idx="137">
                  <c:v>188</c:v>
                </c:pt>
                <c:pt idx="138">
                  <c:v>92</c:v>
                </c:pt>
                <c:pt idx="139">
                  <c:v>352</c:v>
                </c:pt>
                <c:pt idx="140">
                  <c:v>462</c:v>
                </c:pt>
                <c:pt idx="141">
                  <c:v>271</c:v>
                </c:pt>
                <c:pt idx="142">
                  <c:v>319</c:v>
                </c:pt>
                <c:pt idx="143">
                  <c:v>254</c:v>
                </c:pt>
                <c:pt idx="144">
                  <c:v>186</c:v>
                </c:pt>
                <c:pt idx="145">
                  <c:v>92</c:v>
                </c:pt>
                <c:pt idx="146">
                  <c:v>341</c:v>
                </c:pt>
                <c:pt idx="147">
                  <c:v>328</c:v>
                </c:pt>
                <c:pt idx="148">
                  <c:v>251</c:v>
                </c:pt>
                <c:pt idx="149">
                  <c:v>222</c:v>
                </c:pt>
                <c:pt idx="150">
                  <c:v>237</c:v>
                </c:pt>
                <c:pt idx="151">
                  <c:v>113</c:v>
                </c:pt>
                <c:pt idx="152">
                  <c:v>64</c:v>
                </c:pt>
                <c:pt idx="153">
                  <c:v>279</c:v>
                </c:pt>
                <c:pt idx="154">
                  <c:v>278</c:v>
                </c:pt>
                <c:pt idx="155">
                  <c:v>157</c:v>
                </c:pt>
                <c:pt idx="156">
                  <c:v>167</c:v>
                </c:pt>
                <c:pt idx="157">
                  <c:v>165</c:v>
                </c:pt>
                <c:pt idx="158">
                  <c:v>90</c:v>
                </c:pt>
                <c:pt idx="159">
                  <c:v>32</c:v>
                </c:pt>
                <c:pt idx="160">
                  <c:v>116</c:v>
                </c:pt>
                <c:pt idx="161">
                  <c:v>196</c:v>
                </c:pt>
                <c:pt idx="162">
                  <c:v>130</c:v>
                </c:pt>
                <c:pt idx="163">
                  <c:v>142</c:v>
                </c:pt>
                <c:pt idx="164">
                  <c:v>127</c:v>
                </c:pt>
                <c:pt idx="165">
                  <c:v>66</c:v>
                </c:pt>
                <c:pt idx="166">
                  <c:v>19</c:v>
                </c:pt>
                <c:pt idx="167">
                  <c:v>119</c:v>
                </c:pt>
                <c:pt idx="168">
                  <c:v>122</c:v>
                </c:pt>
                <c:pt idx="169">
                  <c:v>59</c:v>
                </c:pt>
                <c:pt idx="170">
                  <c:v>43</c:v>
                </c:pt>
                <c:pt idx="171">
                  <c:v>65</c:v>
                </c:pt>
                <c:pt idx="172">
                  <c:v>22</c:v>
                </c:pt>
                <c:pt idx="173">
                  <c:v>12</c:v>
                </c:pt>
                <c:pt idx="174">
                  <c:v>80</c:v>
                </c:pt>
                <c:pt idx="175">
                  <c:v>46</c:v>
                </c:pt>
                <c:pt idx="176">
                  <c:v>47</c:v>
                </c:pt>
                <c:pt idx="177">
                  <c:v>46</c:v>
                </c:pt>
                <c:pt idx="178">
                  <c:v>44</c:v>
                </c:pt>
                <c:pt idx="179">
                  <c:v>26</c:v>
                </c:pt>
                <c:pt idx="18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56-4BCC-8CF9-51A54760781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28</c:v>
                </c:pt>
                <c:pt idx="169">
                  <c:v>123</c:v>
                </c:pt>
                <c:pt idx="170">
                  <c:v>117</c:v>
                </c:pt>
                <c:pt idx="171">
                  <c:v>112</c:v>
                </c:pt>
                <c:pt idx="172">
                  <c:v>107</c:v>
                </c:pt>
                <c:pt idx="173">
                  <c:v>102</c:v>
                </c:pt>
                <c:pt idx="174">
                  <c:v>97</c:v>
                </c:pt>
                <c:pt idx="175">
                  <c:v>92</c:v>
                </c:pt>
                <c:pt idx="176">
                  <c:v>87</c:v>
                </c:pt>
                <c:pt idx="177">
                  <c:v>83</c:v>
                </c:pt>
                <c:pt idx="178">
                  <c:v>78</c:v>
                </c:pt>
                <c:pt idx="179">
                  <c:v>74</c:v>
                </c:pt>
                <c:pt idx="180">
                  <c:v>70</c:v>
                </c:pt>
                <c:pt idx="181">
                  <c:v>66</c:v>
                </c:pt>
                <c:pt idx="182">
                  <c:v>62</c:v>
                </c:pt>
                <c:pt idx="183">
                  <c:v>59</c:v>
                </c:pt>
                <c:pt idx="184">
                  <c:v>55</c:v>
                </c:pt>
                <c:pt idx="185">
                  <c:v>52</c:v>
                </c:pt>
                <c:pt idx="186">
                  <c:v>49</c:v>
                </c:pt>
                <c:pt idx="187">
                  <c:v>46</c:v>
                </c:pt>
                <c:pt idx="188">
                  <c:v>44</c:v>
                </c:pt>
                <c:pt idx="189">
                  <c:v>41</c:v>
                </c:pt>
                <c:pt idx="190">
                  <c:v>39</c:v>
                </c:pt>
                <c:pt idx="191">
                  <c:v>36</c:v>
                </c:pt>
                <c:pt idx="192">
                  <c:v>34</c:v>
                </c:pt>
                <c:pt idx="193">
                  <c:v>32</c:v>
                </c:pt>
                <c:pt idx="194">
                  <c:v>30</c:v>
                </c:pt>
                <c:pt idx="195">
                  <c:v>29</c:v>
                </c:pt>
                <c:pt idx="196">
                  <c:v>27</c:v>
                </c:pt>
                <c:pt idx="197">
                  <c:v>25</c:v>
                </c:pt>
                <c:pt idx="198">
                  <c:v>24</c:v>
                </c:pt>
                <c:pt idx="199">
                  <c:v>22</c:v>
                </c:pt>
                <c:pt idx="200">
                  <c:v>21</c:v>
                </c:pt>
                <c:pt idx="201">
                  <c:v>19</c:v>
                </c:pt>
                <c:pt idx="202">
                  <c:v>18</c:v>
                </c:pt>
                <c:pt idx="203">
                  <c:v>17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1</c:v>
                </c:pt>
                <c:pt idx="210">
                  <c:v>10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56-4BCC-8CF9-51A54760781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31</c:v>
                </c:pt>
                <c:pt idx="169">
                  <c:v>130</c:v>
                </c:pt>
                <c:pt idx="170">
                  <c:v>129</c:v>
                </c:pt>
                <c:pt idx="171">
                  <c:v>129</c:v>
                </c:pt>
                <c:pt idx="172">
                  <c:v>129</c:v>
                </c:pt>
                <c:pt idx="173">
                  <c:v>128</c:v>
                </c:pt>
                <c:pt idx="174">
                  <c:v>128</c:v>
                </c:pt>
                <c:pt idx="175">
                  <c:v>130</c:v>
                </c:pt>
                <c:pt idx="176">
                  <c:v>132</c:v>
                </c:pt>
                <c:pt idx="177">
                  <c:v>136</c:v>
                </c:pt>
                <c:pt idx="178">
                  <c:v>139</c:v>
                </c:pt>
                <c:pt idx="179">
                  <c:v>142</c:v>
                </c:pt>
                <c:pt idx="180">
                  <c:v>146</c:v>
                </c:pt>
                <c:pt idx="181">
                  <c:v>149</c:v>
                </c:pt>
                <c:pt idx="182">
                  <c:v>153</c:v>
                </c:pt>
                <c:pt idx="183">
                  <c:v>157</c:v>
                </c:pt>
                <c:pt idx="184">
                  <c:v>160</c:v>
                </c:pt>
                <c:pt idx="185">
                  <c:v>164</c:v>
                </c:pt>
                <c:pt idx="186">
                  <c:v>168</c:v>
                </c:pt>
                <c:pt idx="187">
                  <c:v>171</c:v>
                </c:pt>
                <c:pt idx="188">
                  <c:v>175</c:v>
                </c:pt>
                <c:pt idx="189">
                  <c:v>180</c:v>
                </c:pt>
                <c:pt idx="190">
                  <c:v>184</c:v>
                </c:pt>
                <c:pt idx="191">
                  <c:v>188</c:v>
                </c:pt>
                <c:pt idx="192">
                  <c:v>192</c:v>
                </c:pt>
                <c:pt idx="193">
                  <c:v>196</c:v>
                </c:pt>
                <c:pt idx="194">
                  <c:v>200</c:v>
                </c:pt>
                <c:pt idx="195">
                  <c:v>204</c:v>
                </c:pt>
                <c:pt idx="196">
                  <c:v>207</c:v>
                </c:pt>
                <c:pt idx="197">
                  <c:v>211</c:v>
                </c:pt>
                <c:pt idx="198">
                  <c:v>214</c:v>
                </c:pt>
                <c:pt idx="199">
                  <c:v>217</c:v>
                </c:pt>
                <c:pt idx="200">
                  <c:v>220</c:v>
                </c:pt>
                <c:pt idx="201">
                  <c:v>222</c:v>
                </c:pt>
                <c:pt idx="202">
                  <c:v>224</c:v>
                </c:pt>
                <c:pt idx="203">
                  <c:v>226</c:v>
                </c:pt>
                <c:pt idx="204">
                  <c:v>228</c:v>
                </c:pt>
                <c:pt idx="205">
                  <c:v>229</c:v>
                </c:pt>
                <c:pt idx="206">
                  <c:v>230</c:v>
                </c:pt>
                <c:pt idx="207">
                  <c:v>230</c:v>
                </c:pt>
                <c:pt idx="208">
                  <c:v>230</c:v>
                </c:pt>
                <c:pt idx="209">
                  <c:v>230</c:v>
                </c:pt>
                <c:pt idx="210">
                  <c:v>229</c:v>
                </c:pt>
                <c:pt idx="211">
                  <c:v>229</c:v>
                </c:pt>
                <c:pt idx="212">
                  <c:v>227</c:v>
                </c:pt>
                <c:pt idx="213">
                  <c:v>226</c:v>
                </c:pt>
                <c:pt idx="214">
                  <c:v>224</c:v>
                </c:pt>
                <c:pt idx="215">
                  <c:v>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56-4BCC-8CF9-51A54760781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56-4BCC-8CF9-51A54760781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8626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470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332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4029054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87830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52011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297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42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4" r:id="rId9"/>
    <p:sldLayoutId id="2147483665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1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4984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1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tif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12.xml"/><Relationship Id="rId7" Type="http://schemas.openxmlformats.org/officeDocument/2006/relationships/image" Target="../media/image13.tif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16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20.xml"/><Relationship Id="rId7" Type="http://schemas.openxmlformats.org/officeDocument/2006/relationships/image" Target="../media/image17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24.xml"/><Relationship Id="rId7" Type="http://schemas.openxmlformats.org/officeDocument/2006/relationships/image" Target="../media/image19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28.xml"/><Relationship Id="rId7" Type="http://schemas.openxmlformats.org/officeDocument/2006/relationships/image" Target="../media/image21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3" Type="http://schemas.openxmlformats.org/officeDocument/2006/relationships/tags" Target="../tags/tag32.xml"/><Relationship Id="rId7" Type="http://schemas.openxmlformats.org/officeDocument/2006/relationships/image" Target="../media/image23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tags" Target="../tags/tag36.xml"/><Relationship Id="rId7" Type="http://schemas.openxmlformats.org/officeDocument/2006/relationships/image" Target="../media/image25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4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.xml"/><Relationship Id="rId3" Type="http://schemas.openxmlformats.org/officeDocument/2006/relationships/tags" Target="../tags/tag40.xml"/><Relationship Id="rId7" Type="http://schemas.openxmlformats.org/officeDocument/2006/relationships/image" Target="../media/image27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6.em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3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tags" Target="../tags/tag44.xml"/><Relationship Id="rId7" Type="http://schemas.openxmlformats.org/officeDocument/2006/relationships/image" Target="../media/image29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8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36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0.jpe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3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9.xml"/><Relationship Id="rId3" Type="http://schemas.openxmlformats.org/officeDocument/2006/relationships/tags" Target="../tags/tag52.xml"/><Relationship Id="rId7" Type="http://schemas.openxmlformats.org/officeDocument/2006/relationships/image" Target="../media/image32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1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jp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2.xml"/><Relationship Id="rId3" Type="http://schemas.openxmlformats.org/officeDocument/2006/relationships/tags" Target="../tags/tag56.xml"/><Relationship Id="rId7" Type="http://schemas.openxmlformats.org/officeDocument/2006/relationships/image" Target="../media/image34.jp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3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4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5.xml"/><Relationship Id="rId3" Type="http://schemas.openxmlformats.org/officeDocument/2006/relationships/tags" Target="../tags/tag60.xml"/><Relationship Id="rId7" Type="http://schemas.openxmlformats.org/officeDocument/2006/relationships/image" Target="../media/image36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35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3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79294" y="3693110"/>
            <a:ext cx="11681012" cy="1909832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</a:t>
            </a:r>
          </a:p>
          <a:p>
            <a:r>
              <a:rPr lang="cs-CZ" sz="3200" b="1" i="1" dirty="0">
                <a:solidFill>
                  <a:srgbClr val="C00000"/>
                </a:solidFill>
              </a:rPr>
              <a:t>- Aktualizace k 31. 5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3856325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raha</a:t>
            </a:r>
            <a:endParaRPr lang="cs-CZ" sz="1800" dirty="0">
              <a:latin typeface="+mj-lt"/>
            </a:endParaRP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38B22636-4D0E-419E-AC4B-CBFCF4A258B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2541056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</p:spTree>
    <p:extLst>
      <p:ext uri="{BB962C8B-B14F-4D97-AF65-F5344CB8AC3E}">
        <p14:creationId xmlns:p14="http://schemas.microsoft.com/office/powerpoint/2010/main" val="607065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5" name="Nadpis 1">
            <a:extLst>
              <a:ext uri="{FF2B5EF4-FFF2-40B4-BE49-F238E27FC236}">
                <a16:creationId xmlns:a16="http://schemas.microsoft.com/office/drawing/2014/main" id="{76F1A76F-6AD5-4C1E-B621-24B8A4EA1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raha</a:t>
            </a:r>
            <a:endParaRPr lang="cs-CZ" sz="1800" dirty="0">
              <a:latin typeface="+mj-lt"/>
            </a:endParaRPr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16ACDA2C-9763-4A55-AEAC-0CAC9A312C5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7" name="Chart 4">
            <a:extLst>
              <a:ext uri="{FF2B5EF4-FFF2-40B4-BE49-F238E27FC236}">
                <a16:creationId xmlns:a16="http://schemas.microsoft.com/office/drawing/2014/main" id="{CB77C502-1223-4FA2-BDD3-FFA1E39496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499939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32970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EC01DB5D-F5C6-4DF8-8842-B526C2795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90506" cy="576000"/>
          </a:xfrm>
        </p:spPr>
        <p:txBody>
          <a:bodyPr/>
          <a:lstStyle/>
          <a:p>
            <a:r>
              <a:rPr lang="cs-CZ" sz="1800" dirty="0"/>
              <a:t>Scénáře dlouhodobých simulací z 5. 3. 2021: 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53B63C1B-3EF5-4361-A4F0-D220E50F816D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64E63784-1412-4663-B4B2-F42D04052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6A213C0B-A2AF-496A-A4E7-0DBC92150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CF1C2859-2513-4C6B-828E-5F997CC182B1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EE958DC-846E-483C-BC26-6AEF2DB3B78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F95E2489-E710-46C1-87C0-3C8F7B1140A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633AF09A-B4EE-410A-A938-942C376EE8FC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B0E8DD31-5BF9-4725-8006-D6F430E269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288438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CF97CFB0-4BD7-4330-AEDD-59CA9A72E5C5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15ACD78-DD53-4B4F-AC88-82CBF5E32DAE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52913616-7109-48BF-8756-0A9C382247E7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EDF0B9F5-D551-4390-B604-8AB372D83AEF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4ED6A8FF-B86A-451B-8E68-2751ED7352A8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BB18A3A0-CBC0-4F38-A708-081E12DE97C5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E753ECC-0B9D-49EA-BF24-0EDD432DC02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15F78980-66DA-4DCF-8BEB-CE7BA8E24760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2A97A1D0-784C-4C9E-9223-AACEE915FE28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8D10697A-66C3-4CC2-9A13-62F2D823B175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13536542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Středočes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2511608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787563B3-6ECC-44DC-8DE5-6060D52C7C0B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579DB1A9-E93A-4E80-B105-30065774F0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24042CDE-B0F3-48FE-8882-0AEAD9182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73107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A6D9CFD0-E987-4487-BA01-8D0B0AD45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A3885539-0FE7-42AD-86C6-6CB849AC17DF}"/>
              </a:ext>
            </a:extLst>
          </p:cNvPr>
          <p:cNvGrpSpPr/>
          <p:nvPr/>
        </p:nvGrpSpPr>
        <p:grpSpPr>
          <a:xfrm>
            <a:off x="10773218" y="654984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04E2C6C-0B78-40C0-8615-481C0E7B1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C8EFD5F-69BF-4383-8D31-917F23EA5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085E892B-BAF8-42C3-8EFA-99DF3D4F94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5023593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A7B4FF6-5273-4AE1-9249-D98F75956546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2978207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B34D2719-BC91-4C25-B706-A3AB7251A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 z 5. 3. 2021: 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3B6847DE-D540-44E9-BC7D-B42D49C6C949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28D63BFF-14B0-4329-9AF7-AAE2883EC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1513A808-9545-49BA-94C8-A4067E4854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16266905-2448-4C9A-9473-082788854AE3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9F2FD46F-2C96-47A0-B87E-02B297F2048F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2C303442-DACB-41EC-A388-E1BDAF1EA9A2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AD5D373D-7809-4495-A503-FA464C12C5E2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5F4AE150-8731-4D9F-8676-F93E7588A0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0437835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524B4B2F-3A20-4DFE-A383-1EAC93DEB260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722ABCAF-2C70-431C-BEDD-9D44D779244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FA47DD6A-91F7-4C7E-BE44-E24A28BE7A5F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631EF28A-9B7D-444F-9D84-7A299321D3CD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FA64AF2B-39BD-46A7-8ED5-B1715CA5A123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0DD6D0F-B0CB-4059-A8E5-A9A7DF96E5D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8E5EF87-E619-4050-BA0D-F000C3AF9513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5A5C4932-20AF-4CBA-843C-5EF17E24D2A9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20C8B2E2-8E60-47F5-B190-B5E74A58E956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97689976-2701-455F-9D7B-C84BB3D0104B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5588371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čes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7623477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15C5692-65B4-4208-8902-1FCC7EA35D82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374F73AC-DA54-4C30-BCC0-ACDB82A68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B9EDC051-BB63-4946-B1B9-67D3E2100F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04818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1F65236-52B4-499D-B112-B4BE47E73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2E1B6BEA-C410-4262-BCBF-C07810D50B32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A8F3E85-6774-4FB9-9508-0DECEF2AC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922E8573-BF3D-4EBA-A731-F94DB2706D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E3886436-C1E6-4CA3-930E-A986993A12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557667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6381C91-9D81-4362-B46B-1ACD2E0BD46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38647307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1CEC9965-1D78-4A93-9E99-E0DBFA22E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 z 5. 3. 2021: 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0B19E0FD-DBD5-47E9-97C2-D9BCB8BAE432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A50F7630-9282-4238-BF63-5F8CCB1E4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6891F53A-E9D8-4AFC-BF68-173E10517F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49CE45FE-9883-429E-9D7E-06CDE484B987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8AA2CD9F-DED5-4CF1-9799-3EE7039809FA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0F4B4B41-41ED-443E-8344-65B68596638E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EE5B1FF-17A1-4E0B-A62B-D8A2E624C333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83470229-B3DB-43CA-B5CC-B096E0E3EF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1151130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1B75296C-E1E2-41AF-A5B3-ED45BFC24C67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3EB97285-FE96-496A-91F5-AB8F2002797E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F467B29D-94C2-4FD5-824B-D16BCA510685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D6988600-587A-4AA2-912A-2A9265428B41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26C43F11-E30C-47DD-AE52-CC0CB52425C8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DE265FE6-634D-48AB-87B2-E576BDFEA15A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DC51086-A76B-45E0-B74D-47FEAE67CDFD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D9E46EE8-67B7-4587-8979-1ADDADDA7FA2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3565F93D-F469-4CBD-A0DC-FCF02B4F6230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8B57EC63-FF11-4CB3-8348-665DDB3B5E95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21536218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lzeňs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2837988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4283DDBB-BFE0-4E33-B56A-F38DB90C63F7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AE72DC00-8B27-47A9-A1E0-33E675890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32EE3D31-AED2-44C4-97EF-920B1D0B9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2625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3186997"/>
          </a:xfrm>
        </p:spPr>
        <p:txBody>
          <a:bodyPr>
            <a:normAutofit fontScale="92500" lnSpcReduction="10000"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endParaRPr lang="cs-CZ" sz="2400" b="1" dirty="0"/>
          </a:p>
          <a:p>
            <a:endParaRPr lang="cs-CZ" sz="2400" b="1" dirty="0"/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endParaRPr lang="cs-CZ" sz="2000" dirty="0"/>
          </a:p>
          <a:p>
            <a:pPr lvl="1"/>
            <a:endParaRPr lang="cs-CZ" sz="2000" dirty="0"/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3.: snížení pracovních kontaktů na 20 %, školní kontakty na 0 %, snížení jiných kontaktů na 20 %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1184190" y="3361822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</a:t>
            </a:r>
            <a:r>
              <a:rPr kumimoji="0" lang="cs-CZ" sz="1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rychlé zpomalení epidemie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1184191" y="2160610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pouze částečné udržení opatření a pomalé zpomalování </a:t>
            </a:r>
          </a:p>
        </p:txBody>
      </p:sp>
    </p:spTree>
    <p:extLst>
      <p:ext uri="{BB962C8B-B14F-4D97-AF65-F5344CB8AC3E}">
        <p14:creationId xmlns:p14="http://schemas.microsoft.com/office/powerpoint/2010/main" val="10380436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8CA04C4-E5D0-47E7-A49C-188D322BD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2734C4B-13A7-4CC2-8CBA-660FB059BF7F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91CC516-AD22-48E2-A482-74AC50034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4544BF98-B351-427B-B1AA-13DDB44BD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E0F1555-C33B-4F4F-A592-A13B90485F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141526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1A350885-F0D6-457E-9E0C-FFE67F32DB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39619469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473EDBC7-4354-41A4-88B2-43CA7353D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72015" cy="576000"/>
          </a:xfrm>
        </p:spPr>
        <p:txBody>
          <a:bodyPr/>
          <a:lstStyle/>
          <a:p>
            <a:r>
              <a:rPr lang="cs-CZ" sz="1800" dirty="0"/>
              <a:t>Scénáře dlouhodobých simulací z 5. 3. 2021: 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8F9BF8D3-DB95-463E-8336-46E6D18F0DDA}"/>
              </a:ext>
            </a:extLst>
          </p:cNvPr>
          <p:cNvGrpSpPr/>
          <p:nvPr/>
        </p:nvGrpSpPr>
        <p:grpSpPr>
          <a:xfrm>
            <a:off x="10932032" y="558102"/>
            <a:ext cx="1158835" cy="360249"/>
            <a:chOff x="12375318" y="2247704"/>
            <a:chExt cx="1580446" cy="491316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032D2A52-F0AB-4DCF-BAD3-17FA007F36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A5A80382-D370-4C0C-BCFB-A4C9EBC25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2C98C80E-4644-46C2-9F45-0C4B3E0569AB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F1DEA6C3-6D37-4755-BFBA-914D085F554A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337D5AD8-2692-45C6-8CB2-D72EBD30C26B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F42A97E4-0E64-4496-B9C5-8F4599E569DD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E3EA99C2-2117-4600-B9EE-0EFC5AB839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518179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2C8B7802-67CB-4723-8D55-F6B55227DE52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EADD69B-C881-4F2B-9044-215CCFE577CD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69277BBA-61D7-4174-9BC6-55C475F7454F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31050085-C663-43F2-B1E5-71A7E23CEC99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1CE6D2E9-67B9-466A-9123-AFE6482B19E6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811931A5-2BFD-444A-B599-D32C1744AD96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CEC93FDC-7888-4ABF-A1E7-5E1065D5920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54967ABB-3081-4679-AF7D-C803D69C5275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C19D3497-5835-437D-AC4F-6231DA8D00A6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5E380522-0A3C-492C-BA11-17A200F18A20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2909968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arlovars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1548641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072F1A8-33C9-4142-A291-B1585AC39BA7}"/>
              </a:ext>
            </a:extLst>
          </p:cNvPr>
          <p:cNvGrpSpPr/>
          <p:nvPr/>
        </p:nvGrpSpPr>
        <p:grpSpPr>
          <a:xfrm>
            <a:off x="10932032" y="558102"/>
            <a:ext cx="1158835" cy="360249"/>
            <a:chOff x="12375318" y="2247704"/>
            <a:chExt cx="1580446" cy="491316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481E288B-3730-4EEC-BA61-54FC758120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BB34FF05-87F2-4B57-AF79-77350B4679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85181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A9776DF7-0514-47D5-8DE6-30DA8C3E7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FE541-A5D1-4B76-8A89-1B4CF569B499}"/>
              </a:ext>
            </a:extLst>
          </p:cNvPr>
          <p:cNvGrpSpPr/>
          <p:nvPr/>
        </p:nvGrpSpPr>
        <p:grpSpPr>
          <a:xfrm>
            <a:off x="10932032" y="558102"/>
            <a:ext cx="1158835" cy="360249"/>
            <a:chOff x="12375318" y="2247704"/>
            <a:chExt cx="1580446" cy="491316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7983BECF-DCCE-4999-B75E-91E23E8A9A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670E835-88FD-402C-9C89-D71D9F3FAD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41CD805-5CC5-4D1C-A48A-CC76D0CEAA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128811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CE3582C-1955-441F-A69E-035EA7F7C34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39591370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A6A8025B-EDAB-4727-8D02-CFBEC02A6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 z 5. 3. 2021: 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29763B0-FD75-4F5F-AD04-D31B43E4E4C3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20" name="Picture 2">
              <a:extLst>
                <a:ext uri="{FF2B5EF4-FFF2-40B4-BE49-F238E27FC236}">
                  <a16:creationId xmlns:a16="http://schemas.microsoft.com/office/drawing/2014/main" id="{0E9ADD8F-3F05-4320-B639-49AE2D527C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AFE6782F-FDA8-4D2A-87BA-D85FBE9185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A31C3A40-1F95-42EF-86C9-8009DB3992C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46BD96F2-6EBE-46D0-9946-A253F4565EB6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D804BA89-96C4-4A45-B45A-C349505BEED6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5486738F-4611-43B0-96C2-A3C3F6E16102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E73D4901-026D-4655-817B-2404C8F1F7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3337604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E3546257-0851-4D4C-9D16-89B73E17DEA7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1D34BB44-7D7F-4903-A177-DC72A239C02E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F332F324-44EE-4DA2-B88E-5DDA1FFDF1AB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4CC675D8-BA6D-4501-BF27-4639D57F71CF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14BE04BE-DE15-4D56-8E02-1351BE1B1D41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1CC90978-D877-4DCC-B7D9-C4DF35D23A75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5B6DB81C-3517-4208-9501-D2302824346D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B9F76023-BFC2-45A3-B6D7-839BFB3ED0FE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2DB4C7E0-7986-4DF6-A04D-EA99B83532FF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6E8E4E73-96E3-4814-8725-D9C13E59BBE2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40818988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Ústec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8539660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2108C24-4A2A-4FA6-A9DF-7563FBF2B4E5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3927962D-8498-4644-8AE9-595122743A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F193252F-CA57-49C4-B3FC-F515016EBC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71229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71579FA-3CA1-4C67-9F70-23A0E46E3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13B981D-72FF-4784-949D-EDA0C14B0053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C73488D1-767A-4260-99B1-6E062EF0CA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E45B9078-AF19-4DC7-85EF-F749003B4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6D16E355-6CFD-4062-B77A-86E16B56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9772962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53C4583-C88D-4CCD-99AB-CE34B8BDCBB9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31291380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A3C82B67-2654-4764-82DF-92A979A00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 z 5. 3. 2021: 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92A155CF-20F7-46FB-B244-A083D51FF047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F63CCD5D-5C2D-42DF-935B-F5A4D828D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F2C5E083-9532-4161-9D18-5F54BE1DBE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4FAD4A72-E2D1-4F32-A3F0-0437FAC626A4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7B4BC4D3-28E8-49FC-90B2-27DB32B23781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FFB9F4D2-C95F-4457-B9DB-EA57F557D0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E49DA3A9-2410-45BE-A077-28C0D295106F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E7B76CF1-3C27-49FD-9DB8-CF4E36D8AD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8278471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8BBF4E98-8387-48B2-822F-EBE7A4FC9AEB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811A907B-51FE-4190-BFE7-9D342C85683B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C62D6E80-9959-4B82-BD64-06E7C3902266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C0152E59-FFED-48AA-9686-22EA97DF55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FCF1D58A-F30A-41F1-A125-8580E664AE5E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898732CF-2FF4-45D9-9226-8AC81169925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1322CF3F-493F-460F-A619-EE80DC5CB725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88929772-AA32-4FB8-B82C-1F61F82C1CA1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87ADFE54-6CDC-44E9-A1B1-C1C7E1E8361D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8C6668E3-028B-4CF4-96FF-A47F9558945F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33550043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Liberec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0973032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99670E60-361C-424C-8FC3-F249C0B8F0C0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329A4688-5571-4A6C-A8DD-71954004D6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B1B45A47-C044-4284-B903-26F210CB0C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51359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0117A272-DFF4-4BB8-8D0F-9FC358EA4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53C84CB-62BF-455B-8D5A-5BD1185C14A8}"/>
              </a:ext>
            </a:extLst>
          </p:cNvPr>
          <p:cNvGrpSpPr/>
          <p:nvPr/>
        </p:nvGrpSpPr>
        <p:grpSpPr>
          <a:xfrm>
            <a:off x="11213431" y="654465"/>
            <a:ext cx="885789" cy="249232"/>
            <a:chOff x="12375318" y="2890002"/>
            <a:chExt cx="1689602" cy="475399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3A01E0F0-5F04-457E-8DBB-D1FA7FAD4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AF075E4-35A9-4C63-8753-0BCBA35DEC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0970FA0B-322F-4E59-A71C-D0B5BA5A91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239431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0D212079-3953-4360-8C2A-8B21BF86C6B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23655090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</a:t>
            </a:r>
            <a:r>
              <a:rPr kumimoji="0" lang="cs-CZ" sz="1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rychlé zpomalení epidemie 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4293170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pouze částečné udržení opatření a pomalé zpomalování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36106860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344D056B-5824-4923-99F1-0FBD3ACE2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72015" cy="576000"/>
          </a:xfrm>
        </p:spPr>
        <p:txBody>
          <a:bodyPr/>
          <a:lstStyle/>
          <a:p>
            <a:r>
              <a:rPr lang="cs-CZ" sz="1800" dirty="0"/>
              <a:t>Scénáře dlouhodobých simulací z 5. 3. 2021: </a:t>
            </a:r>
            <a:br>
              <a:rPr lang="cs-CZ" sz="1800" dirty="0"/>
            </a:br>
            <a:r>
              <a:rPr lang="cs-CZ" sz="1800" dirty="0"/>
              <a:t>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E87296DD-515D-4C5E-B2B2-399748398015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D2862D71-72FD-485E-9913-E16C0991582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1A61B2F0-36BB-4910-B106-64D9A51A2D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2870CE8-C78A-4AB2-8F08-AFADDE1D5166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7329FFD-8BDA-4DED-B0B8-C2CFE4B9BA88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3DABD9A6-D8E7-428C-94F1-A2D795B2884E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586D5D96-E80D-4207-B5C1-3F4566DD5386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DB807EAE-8F0E-42C6-97A3-F5DBC98F88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4549135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147FB541-B6D5-4B4A-9F45-8D5D199EE3F4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78807DE8-1851-4A97-A7E6-08C2BB0F560E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740231D0-BCB9-41ED-A983-6BD309BBA711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DB3BE2B3-6440-42C5-BFF3-0375925FF666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426F8F70-1097-4F87-9EBB-6A43A3FB8392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4313D3D7-4E07-459C-8C1C-508C3F09C22F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1CD63900-BADE-45D1-ACAE-6568836AADEF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60A25197-BDEC-4742-8120-A817BCAEF094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F7DF1120-392A-42B4-95CE-D3BAC859EF7D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A95C4940-460A-4493-A50D-D0EF0AA6137C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10460557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álovehradec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4154469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54CB9464-959C-438B-9FEC-AF0FFDF5EB00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51FCE8F7-3425-403C-80CD-A555079510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C25C3D6A-A44F-43DF-8A82-C48984AFB9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46177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B261C0B4-A28C-4A5D-9DEC-C497BECA2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3EBE636-5807-494C-B364-37317610804E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F6F9127-EC4F-4884-AFD2-D03708BBF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0FC74DE4-B318-4474-B34D-7259F3AD5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B39F8B7B-CCC8-4EF2-B814-06D780BDEA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1357928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A0EF2BD-7C00-4A1F-8F3D-42159E00C37A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6766756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B742F164-24D3-42B3-8C87-53AB25B02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2762" cy="576000"/>
          </a:xfrm>
        </p:spPr>
        <p:txBody>
          <a:bodyPr/>
          <a:lstStyle/>
          <a:p>
            <a:r>
              <a:rPr lang="cs-CZ" sz="1800" dirty="0"/>
              <a:t>Scénáře dlouhodobých simulací z 5. 3. 2021: 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E089C40-2113-47EB-9C22-7ACA2E1394A9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9E394F07-CB65-4788-9325-0E48B6C5A0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1270D111-E416-493D-9A3B-C5722A9F1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76439632-5745-4819-9F2D-A0E181389E13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D414A5A-6F92-42C7-B2D7-7943B44BDD57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E0BD3403-5890-4AEF-A5D6-ADEA1F957BEC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B9A2D86C-CACC-4ACF-B6AE-F4B34349C8CE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2D7B126B-CAD4-4A99-A533-F0392C016A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798377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916702FC-4F73-440D-8C7E-4337AA38C7E4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07CDDDB-3B33-4DA2-9F90-DE19E9EAEF31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E94766CE-7EFE-48E1-9030-7B74E9BEE987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F063BEF3-D4BF-4129-B8AA-0F7C6646F910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4B295502-4B26-495B-A8D5-1496A7F4DBC8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B01671E8-8931-434A-BFCF-275A38ED4B38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C6459166-931E-4BEF-B549-0CDC0D7BC287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3F9D043F-0254-40A5-81EA-6787071B8C50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AC71F2DD-0A7E-4971-879C-6FA0D7325E0F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BB04714B-239E-4BBB-9F04-EBB0D1584144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19946478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/>
              <a:t>Scénáře dlouhodobých simulací: </a:t>
            </a: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0311873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D5D2337D-3FE4-4577-A581-C5358E91E998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CAA26C08-839A-433E-B95E-E0A49F08E8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0DCD7EE8-C8B8-4A9B-BF33-A1ABC805D5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94535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49124D04-FBC5-4DAF-8C3B-48B86B50B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/>
              <a:t>Scénáře dlouhodobých simulací: </a:t>
            </a: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4C0E007-3D3A-4011-86C2-C3FEB435A8DB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D36FD30-C460-497E-A26E-AA5DA8EDD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704B8F03-1B1B-4FD6-83BA-6A75F57D9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300335EC-3847-4034-9A2A-1D4A1DD8CA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0045695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A3C7183-FA34-4E86-AC4E-3B7A090CBBA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4172610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6EEA274C-11C0-44A4-ACD0-1E27B6DF33C3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81D70A9A-9B6D-4E55-8E93-13BC0386A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 z 5. 3. 2021: 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55084B19-B93D-4BFD-BF67-75D50722C87E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5EC80F8F-3B0B-4FF5-B7C1-0CACA814BA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7C66F021-F6B8-46BC-8BC8-2927DDF9D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15DBC945-0635-42C5-86C4-B5D12BD1F6E8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3742DCFD-DF58-4DBB-BB54-C857C600FEA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9B1ADB8-C2EF-4172-AE80-E5A7504948D3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FB660727-A187-4AFF-9AD9-0F8DA3E16FE7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0FAC9383-FC7B-4207-A71D-2293AF8C45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9599409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DBD7358C-FD05-4B7C-8016-CCAD6F706E1F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B69C2071-4B32-4E99-9A85-C7D1C977A006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E1E10613-8A50-451A-B34A-C1B9EABF0683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BFE1D25F-1C12-407D-AFAE-A991B3735AFA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589A647B-B064-4541-9138-A01C0804F602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DB0333D9-2294-4749-A0C8-B9FFBBAC68BD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5E36A25-FC84-4BA0-AACF-62960D2BB005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FF9B8ECA-A770-4016-8DD3-5E3C1E6FA81F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7440D957-7368-4ABB-88AD-5042619E308D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F3F71425-D34E-4816-A7E9-0D965B80A376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36474532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aj Vysočina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5539243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09E7E42E-40F5-4986-975A-FE2453F4D00A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9B335C9A-9B59-401B-8DCD-793D5FD0D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A278B6C7-2152-4A4D-A3CB-B1767C3368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89263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9B845376-9119-4355-8668-282C007A2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7D9ADF6-5DBD-4483-AAFE-8842DD9854B8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B76C593F-6B08-4DD0-9D28-CE8103E56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B3EFE3D1-6082-4E8D-A87F-D884B0954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692EC39-E635-43AF-88E9-3D3089A324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645282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8E3BE1CD-41AB-44CF-AE5F-8CE04EDBC16D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38426785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023300F0-62D0-43A8-B8E0-EF5E7534B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24769" cy="576000"/>
          </a:xfrm>
        </p:spPr>
        <p:txBody>
          <a:bodyPr/>
          <a:lstStyle/>
          <a:p>
            <a:r>
              <a:rPr lang="cs-CZ" sz="1800" dirty="0"/>
              <a:t>Scénáře dlouhodobých simulací z 5. 3. 2021: </a:t>
            </a:r>
            <a:br>
              <a:rPr lang="cs-CZ" sz="1800" dirty="0"/>
            </a:br>
            <a:r>
              <a:rPr lang="cs-CZ" sz="1800" dirty="0"/>
              <a:t>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18" name="Obrázek 9">
            <a:extLst>
              <a:ext uri="{FF2B5EF4-FFF2-40B4-BE49-F238E27FC236}">
                <a16:creationId xmlns:a16="http://schemas.microsoft.com/office/drawing/2014/main" id="{D03AD4FA-E3EC-4D94-9C52-2E9AFE72DB9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sp>
        <p:nvSpPr>
          <p:cNvPr id="20" name="TextovéPole 19">
            <a:extLst>
              <a:ext uri="{FF2B5EF4-FFF2-40B4-BE49-F238E27FC236}">
                <a16:creationId xmlns:a16="http://schemas.microsoft.com/office/drawing/2014/main" id="{BF6D6896-94A4-4A9E-A546-841E25CC0198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484CEF76-D475-49F7-B219-25E3C855016A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2CE740D9-13B5-457E-880E-DAD9721FAA50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CCCD774D-83D3-4E5C-B2CA-8C6682C1A3B2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DACFBED5-2D79-4D5F-9335-C04FE39B56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6746749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623C09ED-D7F1-4228-AF33-CD16C60B24C3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7331B646-A3A4-4C05-9A3D-CC4F47437F43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3EA0AFBD-D0AF-4301-8D88-011497EF2C22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C746D7AD-6DA9-401B-9F39-FA4A51A15652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3CC37068-0E8D-42BB-B746-A71C06ED1E09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B29346F5-2B1E-4AF3-9D4B-DBC8CA03D43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3B4CA88F-C2B5-4E6B-BA02-C37978A9D605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FCDFB5F9-A4A7-464A-A872-0594D82FB522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0F5DB8E-096D-4204-8450-4F00919472EA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D9847235-81A0-4162-815B-B6C46993D0DF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32028712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8"/>
            <a:ext cx="11487705" cy="1860222"/>
          </a:xfrm>
        </p:spPr>
        <p:txBody>
          <a:bodyPr>
            <a:normAutofit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 3.: snížení pracovních kontaktů na 20 %, školní kontakty na 0 %, snížení jiných kontaktů na 20 %</a:t>
            </a:r>
          </a:p>
        </p:txBody>
      </p:sp>
      <p:sp>
        <p:nvSpPr>
          <p:cNvPr id="2" name="Šipka dolů 1"/>
          <p:cNvSpPr/>
          <p:nvPr/>
        </p:nvSpPr>
        <p:spPr>
          <a:xfrm>
            <a:off x="1201271" y="3325906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 txBox="1">
            <a:spLocks/>
          </p:cNvSpPr>
          <p:nvPr/>
        </p:nvSpPr>
        <p:spPr>
          <a:xfrm>
            <a:off x="381738" y="4110273"/>
            <a:ext cx="11487705" cy="186022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edpokládá rychlý pokles virové nálože v populaci a opatrné uvolňování opatření v dubnu, bez negativního vlivu na vývoj epidemie. K tomuto scénáři byl pro nerizikový vývoj modelově doplněn rychlý efekt postupující vakcinace, u kterého je předpokládána ochrana očkované osoby již za 14 dní po 1. dávce vakcíny.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→ tento efekt je modelován ve </a:t>
            </a:r>
            <a:r>
              <a:rPr lang="cs-CZ" sz="2000" b="1" dirty="0">
                <a:solidFill>
                  <a:srgbClr val="000000"/>
                </a:solidFill>
              </a:rPr>
              <a:t>S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énáři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a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1201270" y="5731467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2995062" y="5601163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</p:spTree>
    <p:extLst>
      <p:ext uri="{BB962C8B-B14F-4D97-AF65-F5344CB8AC3E}">
        <p14:creationId xmlns:p14="http://schemas.microsoft.com/office/powerpoint/2010/main" val="7857808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moravs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119794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pic>
        <p:nvPicPr>
          <p:cNvPr id="21" name="Obrázek 9">
            <a:extLst>
              <a:ext uri="{FF2B5EF4-FFF2-40B4-BE49-F238E27FC236}">
                <a16:creationId xmlns:a16="http://schemas.microsoft.com/office/drawing/2014/main" id="{8B033BD9-97CD-4F86-9C07-63409E3126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3286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6923191F-A725-4526-A9EA-790B1A2D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5" name="Obrázek 9">
            <a:extLst>
              <a:ext uri="{FF2B5EF4-FFF2-40B4-BE49-F238E27FC236}">
                <a16:creationId xmlns:a16="http://schemas.microsoft.com/office/drawing/2014/main" id="{8E59C515-3C7E-49E8-A819-62C476AB386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6DDC9B35-4051-4E83-94B2-38AB401DB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30705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F6DA183E-1377-498C-A339-741ABEBD55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367880803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952F576E-9CEE-4FFF-8CAA-34701B75F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552762" cy="576000"/>
          </a:xfrm>
        </p:spPr>
        <p:txBody>
          <a:bodyPr/>
          <a:lstStyle/>
          <a:p>
            <a:r>
              <a:rPr lang="cs-CZ" sz="1800" dirty="0"/>
              <a:t>Scénáře dlouhodobých simulací z 5. 3. 2021: 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604944BB-9923-4D2C-9566-235A78FCE121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CF92AF91-B762-45C9-8B66-396DE51568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E2EA9C0D-FCEC-4063-934F-1E76ED8637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5E7129EC-8A1D-4E34-94B8-90D74DE2CB2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C4E844D-4EB5-44C9-B017-FBBC979E6FE9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11AFEF71-BF7C-4A3C-A007-ECFFB6A5CB2B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F160523-5364-446F-BB08-1804606A46D0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7FE23912-0D76-46D4-90DB-6B53BE428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4211932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35C534F5-8C84-4E5D-9E6D-632A4701F2A2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83394955-2D3D-4751-A45A-713636498001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B0A81B0F-AFB7-4F8D-BC38-372ADC036E55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D22929C1-3A7B-4BBB-A1C9-04D374DA7AA4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21F51B7-34DF-4F75-B8DE-2BDF4FDAD988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68E8E9B8-0523-4609-856B-BC8ECD4C775F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66BA469-60A9-4906-9507-39BD24046239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A9E01260-5E0D-44D0-BC3E-0EAAD37872F5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53C8A084-EDEC-43AA-942C-C606F8B1380A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9A83052A-8CDC-4A04-BD36-874B845616BA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11827083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Olomouc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5276171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C11A5F9-6E70-4AB3-A2D6-A43800E06D73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33EDBDD9-0A98-49B5-98B5-2391A0A5D2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391EF0A4-DAF1-4977-A17A-9CDEBED6A8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8665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2BC1E44D-B314-446B-A10F-5BADF09F7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1FFBA30-C66A-4F6F-8904-8E6A4B043C79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6B08D46-781E-4991-9AED-9BDF0D78A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0B39A76-DA09-49AC-97D9-291418ECA6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CE3A76D1-C766-4F3E-9836-45D7C096FF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7013389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F80EFF8-A2F5-454B-810B-317FC382588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295629723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dpis 1">
            <a:extLst>
              <a:ext uri="{FF2B5EF4-FFF2-40B4-BE49-F238E27FC236}">
                <a16:creationId xmlns:a16="http://schemas.microsoft.com/office/drawing/2014/main" id="{AE1494C2-6234-4BF4-8141-8730970A5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 z 5. 3. 2021: 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7A352F46-2F67-4118-AC22-CB5643C4ABC1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44A28407-53DD-4FF1-90F2-7AB7ACB679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846CD8AF-D983-4803-AB79-24F2DC539C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7C12EC27-A98C-4AA6-A257-35AE171C470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DB72ABCD-F31E-47EE-B80F-961FEE76239A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0C6E38A1-0704-417B-8DDF-EEAF1264456D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B44A4057-F711-4B2E-BDE9-B6553CFDFB59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599CB9F2-F4AE-450B-BB94-EEC0095586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6092457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6">
            <a:extLst>
              <a:ext uri="{FF2B5EF4-FFF2-40B4-BE49-F238E27FC236}">
                <a16:creationId xmlns:a16="http://schemas.microsoft.com/office/drawing/2014/main" id="{21497D2E-E360-4645-B52A-FD2326130C85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42D833-4611-40AE-A055-0880CAB4719C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CB24A16B-306E-4765-A271-F6F9266FD394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CCB2F006-10BA-486C-81E4-2C90BA30EE3C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26BA3470-D79D-4357-B58E-4526E373F31E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3FE0C7A7-3280-4FA2-B3CB-D889FFA4CB6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0376000-5761-4A2D-A38E-6767A361D7C1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88A834CF-2362-458E-90A7-2FA8053E47CC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A3C9FDCE-D439-4EA3-833E-64F012D75C4D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BEA3FB76-0613-431D-B643-7B2361BE26E2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420619031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Zlíns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99636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279F2F1C-1E02-4493-9BAC-A9AE545F3BF6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F297EC15-AE1E-4212-B5EE-3E89185053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5196DF22-A3B4-4A62-B13E-5DD8514600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761014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EAE69B9-9AAB-46B6-B178-F2C690566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10C49078-8CA6-4BFE-A78D-F68A24CCBB9D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455ADD47-4062-4F41-A64E-D9658655E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020DD933-AFB9-43B1-A2EF-485089679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FF25336C-09D6-4D26-83B7-5FB32BA393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886333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D764EAB6-2DAC-46DF-A307-E40D2A7FCDB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</p:spTree>
    <p:extLst>
      <p:ext uri="{BB962C8B-B14F-4D97-AF65-F5344CB8AC3E}">
        <p14:creationId xmlns:p14="http://schemas.microsoft.com/office/powerpoint/2010/main" val="337746418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D4CFA600-849E-4114-A62A-33B6C70AF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72015" cy="576000"/>
          </a:xfrm>
        </p:spPr>
        <p:txBody>
          <a:bodyPr/>
          <a:lstStyle/>
          <a:p>
            <a:r>
              <a:rPr lang="cs-CZ" sz="1800" dirty="0"/>
              <a:t>Scénáře dlouhodobých simulací z 5. 3. 2021: </a:t>
            </a:r>
            <a:br>
              <a:rPr lang="cs-CZ" sz="1800" dirty="0"/>
            </a:br>
            <a:r>
              <a:rPr lang="cs-CZ" sz="1800" dirty="0"/>
              <a:t>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461B82D-D68A-43AE-85C4-EA708C6061E4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B4E3BBD0-FEF1-4B69-B3E3-8FFF4E912F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28" name="Picture 2" descr="logo MoravskoslezskÃ½ kraj">
              <a:extLst>
                <a:ext uri="{FF2B5EF4-FFF2-40B4-BE49-F238E27FC236}">
                  <a16:creationId xmlns:a16="http://schemas.microsoft.com/office/drawing/2014/main" id="{D2B73A00-235C-41BC-B4DE-64D5AC58F7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A6FF5331-B084-4E57-BB8A-7BE394792D31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CDBA1ED-FADD-4526-943C-45149C0D9930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32" name="Přímá spojnice se šipkou 31">
            <a:extLst>
              <a:ext uri="{FF2B5EF4-FFF2-40B4-BE49-F238E27FC236}">
                <a16:creationId xmlns:a16="http://schemas.microsoft.com/office/drawing/2014/main" id="{B2C42D81-6D4B-4D6E-8BF9-B3AF8C95C13C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Přímá spojnice se šipkou 32">
            <a:extLst>
              <a:ext uri="{FF2B5EF4-FFF2-40B4-BE49-F238E27FC236}">
                <a16:creationId xmlns:a16="http://schemas.microsoft.com/office/drawing/2014/main" id="{3542E207-A8CC-4F2D-BB06-B47775C403D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4" name="Chart 4">
            <a:extLst>
              <a:ext uri="{FF2B5EF4-FFF2-40B4-BE49-F238E27FC236}">
                <a16:creationId xmlns:a16="http://schemas.microsoft.com/office/drawing/2014/main" id="{5E05DEE3-FE5C-4977-AF67-8F9540ED4B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732070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TextBox 6">
            <a:extLst>
              <a:ext uri="{FF2B5EF4-FFF2-40B4-BE49-F238E27FC236}">
                <a16:creationId xmlns:a16="http://schemas.microsoft.com/office/drawing/2014/main" id="{F439B072-C430-45C1-8BB9-CE9FA0276CB1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2ECBFBF2-F783-4814-BF69-CC43815C3E1E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287DA3B7-D56B-42A5-952E-101239C9DEB0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59587A96-78E2-4FE6-BE61-62A05DA704D6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A3BECFCE-F235-42F7-B6B5-8B8F697DE1D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BDE7EBC3-B345-43F1-8DCC-FF45A4A9D7D0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1B0E1AEA-1754-45AA-B6B3-BEA80AFA818A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6B55948-3257-404A-AEE3-AE98823B5432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025BBF42-0676-42CF-841A-9C4D32243564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ADC0C073-0A9C-444E-8F3C-963E23887374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230180422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Moravskoslezský kraj</a:t>
            </a:r>
            <a:endParaRPr lang="cs-CZ" sz="1800" dirty="0">
              <a:latin typeface="+mj-lt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7133241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6E31A2-9013-4EA1-BD1E-E4E020DADC5B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F21D513-BF0E-428C-9DDA-D3C47D0CF324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A4D6B97-5712-4433-A87B-98B0D14B9461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B2AAC3F4-8E06-4CEA-B79D-C2C0A2EE5286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ADA017C0-E791-4ACD-81AE-1B82AF176CE2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7B66BED-729D-47EE-8C95-7CA455F5696F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C8826252-4488-49C2-9365-550C60D54D28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BB3AAD13-4087-44B5-A9ED-FE807F4D4358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bdélník 41">
            <a:extLst>
              <a:ext uri="{FF2B5EF4-FFF2-40B4-BE49-F238E27FC236}">
                <a16:creationId xmlns:a16="http://schemas.microsoft.com/office/drawing/2014/main" id="{FF816FC4-AD16-409A-B16D-B85CC647C20D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B2406B3-6C64-4895-A1B8-1C831FE029CB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61E6A3B-827B-48D6-ABE4-688009FD6864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F8B7070E-1779-466F-8104-BB034000E7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3" name="Picture 2" descr="logo MoravskoslezskÃ½ kraj">
              <a:extLst>
                <a:ext uri="{FF2B5EF4-FFF2-40B4-BE49-F238E27FC236}">
                  <a16:creationId xmlns:a16="http://schemas.microsoft.com/office/drawing/2014/main" id="{82FB1027-4546-4CFD-AA25-9AFDC3A3C5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93154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7949516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290628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272407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35380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31803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30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020328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8472774" y="3318026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8178029" y="3454039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8472774" y="3598469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3174357" y="85467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I: významné posílení opatření a rychlé zpomalení epidemie </a:t>
            </a:r>
          </a:p>
        </p:txBody>
      </p:sp>
    </p:spTree>
    <p:extLst>
      <p:ext uri="{BB962C8B-B14F-4D97-AF65-F5344CB8AC3E}">
        <p14:creationId xmlns:p14="http://schemas.microsoft.com/office/powerpoint/2010/main" val="42456657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66540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62963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5469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7" y="815230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</a:t>
            </a:r>
            <a:r>
              <a:rPr kumimoji="0" lang="cs-CZ" sz="1400" b="1" i="0" strike="noStrike" kern="1200" cap="none" spc="0" normalizeH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pidemie, b</a:t>
            </a: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z projevu rozvolnění </a:t>
            </a:r>
            <a:b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dubnu/květnu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7" y="1550124"/>
            <a:ext cx="4930376" cy="523220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hrnutí rychlého vlivu očkování*</a:t>
            </a:r>
            <a:endParaRPr kumimoji="0" lang="cs-CZ" sz="1400" b="1" i="0" u="sng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75594" y="314113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175594" y="342900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309403" y="2111407"/>
            <a:ext cx="4585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C168640-FF85-4065-8AB1-FEFF4FB1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A44C003-62F1-48D3-87F0-9E1D898616AA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3FEC952-162F-4962-B436-138D2E610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1" name="Picture 2" descr="logo MoravskoslezskÃ½ kraj">
              <a:extLst>
                <a:ext uri="{FF2B5EF4-FFF2-40B4-BE49-F238E27FC236}">
                  <a16:creationId xmlns:a16="http://schemas.microsoft.com/office/drawing/2014/main" id="{82DB1D67-0BCA-4FF6-A1A8-C30584DC4B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EE4AA7C0-337C-4E11-9E88-17037A362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5276208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218888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ové scénáře 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dlouhodobé </a:t>
            </a:r>
            <a:r>
              <a:rPr lang="cs-CZ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mulace zahrnující efekt vakcinace </a:t>
            </a:r>
            <a:endParaRPr lang="cs-CZ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5"/>
            <a:ext cx="11156668" cy="43477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odpovídá ve všech typech aplikovaných modelů optimistickému scénáři, který předpokládal brždění epidemie posílené o rychlý efekt postupující vakcinace.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dely byly nově rozšířeny i na měsíc červen. Vytvořeny byly dvě varianty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.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ždění epidemie, bez projevu rozvolnění v dubnu/květnu, zahrnutí vlivu očkování (rychlý scénář, imunita od první dávky)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+mj-lt"/>
              <a:buAutoNum type="arabicPeriod"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.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zvolnění v květnu,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šak i zde se zahrnutím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1858300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0467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k uzavřenému dni 30. 5. 2021)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18" name="TextovéPole 29">
            <a:extLst>
              <a:ext uri="{FF2B5EF4-FFF2-40B4-BE49-F238E27FC236}">
                <a16:creationId xmlns:a16="http://schemas.microsoft.com/office/drawing/2014/main" id="{3C4CA9C0-234E-4061-B982-BDD411EA09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</a:t>
            </a: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volnění opatření a zahrnutí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ovéPole 30">
            <a:extLst>
              <a:ext uri="{FF2B5EF4-FFF2-40B4-BE49-F238E27FC236}">
                <a16:creationId xmlns:a16="http://schemas.microsoft.com/office/drawing/2014/main" id="{D6C1EF2E-E712-415C-9E89-AFCAC549674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C790622-BD29-41BA-9A33-8DE245D0C44B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AF80B653-AA58-46BD-90E6-9CAF177481C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594046C5-48BD-46C8-861D-63B1F65F166E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/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4184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3834715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/>
              <a:t>Scénáře dlouhodobých simulací: </a:t>
            </a:r>
            <a:r>
              <a:rPr lang="cs-CZ" sz="1800" dirty="0"/>
              <a:t>Praha</a:t>
            </a:r>
            <a:endParaRPr lang="cs-CZ" sz="1800" dirty="0">
              <a:latin typeface="+mj-lt"/>
            </a:endParaRP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38B22636-4D0E-419E-AC4B-CBFCF4A258B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sp>
        <p:nvSpPr>
          <p:cNvPr id="20" name="TextovéPole 19">
            <a:extLst>
              <a:ext uri="{FF2B5EF4-FFF2-40B4-BE49-F238E27FC236}">
                <a16:creationId xmlns:a16="http://schemas.microsoft.com/office/drawing/2014/main" id="{6E519B9E-C946-4DBE-B364-9A040E1E9760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A4015420-121C-4646-95D7-A56BFCB405FC}"/>
              </a:ext>
            </a:extLst>
          </p:cNvPr>
          <p:cNvSpPr txBox="1"/>
          <p:nvPr/>
        </p:nvSpPr>
        <p:spPr>
          <a:xfrm>
            <a:off x="3174357" y="1649544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a akceptace opatření z 1. 3.</a:t>
            </a:r>
          </a:p>
        </p:txBody>
      </p: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AA46C585-2AD1-442C-B286-9E6780B9CE87}"/>
              </a:ext>
            </a:extLst>
          </p:cNvPr>
          <p:cNvCxnSpPr>
            <a:cxnSpLocks/>
          </p:cNvCxnSpPr>
          <p:nvPr/>
        </p:nvCxnSpPr>
        <p:spPr>
          <a:xfrm flipV="1">
            <a:off x="2536182" y="106490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75FF2D3-C2DF-4628-9D7D-13A34E980C7B}"/>
              </a:ext>
            </a:extLst>
          </p:cNvPr>
          <p:cNvCxnSpPr>
            <a:cxnSpLocks/>
          </p:cNvCxnSpPr>
          <p:nvPr/>
        </p:nvCxnSpPr>
        <p:spPr>
          <a:xfrm>
            <a:off x="2536182" y="149170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Chart 4">
            <a:extLst>
              <a:ext uri="{FF2B5EF4-FFF2-40B4-BE49-F238E27FC236}">
                <a16:creationId xmlns:a16="http://schemas.microsoft.com/office/drawing/2014/main" id="{F146224A-69E4-4961-9A35-E600576A10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1047805"/>
              </p:ext>
            </p:extLst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TextBox 6">
            <a:extLst>
              <a:ext uri="{FF2B5EF4-FFF2-40B4-BE49-F238E27FC236}">
                <a16:creationId xmlns:a16="http://schemas.microsoft.com/office/drawing/2014/main" id="{B3B9C37E-53A9-41EC-A6CA-9D0F77F6C41D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095A2592-3728-4771-BC58-319276D2B552}"/>
              </a:ext>
            </a:extLst>
          </p:cNvPr>
          <p:cNvSpPr txBox="1"/>
          <p:nvPr/>
        </p:nvSpPr>
        <p:spPr>
          <a:xfrm>
            <a:off x="8456840" y="298724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3DFE33D1-FA0F-4852-96BA-43D4A5854D95}"/>
              </a:ext>
            </a:extLst>
          </p:cNvPr>
          <p:cNvCxnSpPr>
            <a:cxnSpLocks/>
          </p:cNvCxnSpPr>
          <p:nvPr/>
        </p:nvCxnSpPr>
        <p:spPr>
          <a:xfrm>
            <a:off x="8152951" y="3139519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AAB131EC-A08F-4A9D-8C4A-AFA63733888C}"/>
              </a:ext>
            </a:extLst>
          </p:cNvPr>
          <p:cNvCxnSpPr>
            <a:cxnSpLocks/>
          </p:cNvCxnSpPr>
          <p:nvPr/>
        </p:nvCxnSpPr>
        <p:spPr>
          <a:xfrm>
            <a:off x="8152951" y="3440650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EA3D66D0-30BF-4516-A9C0-32107E2B4190}"/>
              </a:ext>
            </a:extLst>
          </p:cNvPr>
          <p:cNvSpPr txBox="1"/>
          <p:nvPr/>
        </p:nvSpPr>
        <p:spPr>
          <a:xfrm>
            <a:off x="8448983" y="325844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A789D5B6-42B6-4157-857F-F4952E6ACAA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25. 2. až 4. 3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</a:t>
            </a:r>
            <a:endParaRPr lang="cs-CZ" sz="1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46D5AD0F-1F1D-4F41-B7C0-DC6277EC118B}"/>
              </a:ext>
            </a:extLst>
          </p:cNvPr>
          <p:cNvSpPr txBox="1"/>
          <p:nvPr/>
        </p:nvSpPr>
        <p:spPr>
          <a:xfrm>
            <a:off x="3174357" y="878656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Scénář I: udržení a částečné posílení opatření z 1. 3.</a:t>
            </a: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7F2A9A98-4565-43CC-8E3F-0E3804AA7267}"/>
              </a:ext>
            </a:extLst>
          </p:cNvPr>
          <p:cNvSpPr/>
          <p:nvPr/>
        </p:nvSpPr>
        <p:spPr>
          <a:xfrm>
            <a:off x="8175594" y="255989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3B0E54BC-DD2C-4B19-ACF5-8BFE6D6EB391}"/>
              </a:ext>
            </a:extLst>
          </p:cNvPr>
          <p:cNvSpPr txBox="1"/>
          <p:nvPr/>
        </p:nvSpPr>
        <p:spPr>
          <a:xfrm>
            <a:off x="8472774" y="252413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z IS IN </a:t>
            </a: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pl-PL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uzavřenému dni 30. 5. 2021)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5C0CF50F-A497-4FA1-B4A7-40AF50209090}"/>
              </a:ext>
            </a:extLst>
          </p:cNvPr>
          <p:cNvSpPr/>
          <p:nvPr/>
        </p:nvSpPr>
        <p:spPr>
          <a:xfrm>
            <a:off x="8472774" y="3554693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(scénáře B/C ze dne 5. 3. 2021)</a:t>
            </a:r>
          </a:p>
        </p:txBody>
      </p:sp>
    </p:spTree>
    <p:extLst>
      <p:ext uri="{BB962C8B-B14F-4D97-AF65-F5344CB8AC3E}">
        <p14:creationId xmlns:p14="http://schemas.microsoft.com/office/powerpoint/2010/main" val="206471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5fbfd0ef3433421cc006b16c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4415</TotalTime>
  <Words>9202</Words>
  <Application>Microsoft Office PowerPoint</Application>
  <PresentationFormat>Širokoúhlá obrazovka</PresentationFormat>
  <Paragraphs>526</Paragraphs>
  <Slides>50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50</vt:i4>
      </vt:variant>
    </vt:vector>
  </HeadingPairs>
  <TitlesOfParts>
    <vt:vector size="55" baseType="lpstr">
      <vt:lpstr>Arial</vt:lpstr>
      <vt:lpstr>Calibri</vt:lpstr>
      <vt:lpstr>Calibri Light</vt:lpstr>
      <vt:lpstr>Motiv Office</vt:lpstr>
      <vt:lpstr>1_Motiv Office</vt:lpstr>
      <vt:lpstr>Stav a vývoj epidemie COVID-19  v dostupných datech</vt:lpstr>
      <vt:lpstr>Scénáře pro dlouhodobé simulace</vt:lpstr>
      <vt:lpstr>Scénáře dlouhodobých simulací z 5. 3. 2021</vt:lpstr>
      <vt:lpstr>Scénáře pro dlouhodobé simulace</vt:lpstr>
      <vt:lpstr>Scénáře dlouhodobých simulací</vt:lpstr>
      <vt:lpstr>Nové scénáře pro dlouhodobé simulace zahrnující efekt vakcinace </vt:lpstr>
      <vt:lpstr>Scénáře dlouhodobých simulací z 12. 5. 2021</vt:lpstr>
      <vt:lpstr>Stav a vývoj epidemie COVID-19  v dostupných datech</vt:lpstr>
      <vt:lpstr>Scénáře dlouhodobých simulací: Praha</vt:lpstr>
      <vt:lpstr>Scénáře dlouhodobých simulací: Praha</vt:lpstr>
      <vt:lpstr>Scénáře dlouhodobých simulací: Praha</vt:lpstr>
      <vt:lpstr>Scénáře dlouhodobých simulací z 5. 3. 2021: Středočeský kraj</vt:lpstr>
      <vt:lpstr>Scénáře dlouhodobých simulací: Středočeský kraj</vt:lpstr>
      <vt:lpstr>Scénáře dlouhodobých simulací: Středočeský kraj</vt:lpstr>
      <vt:lpstr>Scénáře dlouhodobých simulací z 5. 3. 2021: Jihočeský kraj</vt:lpstr>
      <vt:lpstr>Scénáře dlouhodobých simulací: Jihočeský kraj</vt:lpstr>
      <vt:lpstr>Scénáře dlouhodobých simulací: Jihočeský kraj</vt:lpstr>
      <vt:lpstr>Scénáře dlouhodobých simulací z 5. 3. 2021: Plzeňský kraj</vt:lpstr>
      <vt:lpstr>Scénáře dlouhodobých simulací: Plzeňský kraj</vt:lpstr>
      <vt:lpstr>Scénáře dlouhodobých simulací: Plzeňský kraj</vt:lpstr>
      <vt:lpstr>Scénáře dlouhodobých simulací z 5. 3. 2021: Karlovarský kraj</vt:lpstr>
      <vt:lpstr>Scénáře dlouhodobých simulací: Karlovarský kraj</vt:lpstr>
      <vt:lpstr>Scénáře dlouhodobých simulací: Karlovarský kraj</vt:lpstr>
      <vt:lpstr>Scénáře dlouhodobých simulací z 5. 3. 2021: Ústecký kraj</vt:lpstr>
      <vt:lpstr>Scénáře dlouhodobých simulací: Ústecký kraj</vt:lpstr>
      <vt:lpstr>Scénáře dlouhodobých simulací: Ústecký kraj</vt:lpstr>
      <vt:lpstr>Scénáře dlouhodobých simulací z 5. 3. 2021: Liberecký kraj</vt:lpstr>
      <vt:lpstr>Scénáře dlouhodobých simulací: Liberecký kraj</vt:lpstr>
      <vt:lpstr>Scénáře dlouhodobých simulací: Liberecký kraj</vt:lpstr>
      <vt:lpstr>Scénáře dlouhodobých simulací z 5. 3. 2021:  Královehradecký kraj</vt:lpstr>
      <vt:lpstr>Scénáře dlouhodobých simulací: Královehradecký kraj</vt:lpstr>
      <vt:lpstr>Scénáře dlouhodobých simulací: Královehradecký kraj</vt:lpstr>
      <vt:lpstr>Scénáře dlouhodobých simulací z 5. 3. 2021: Pardubický kraj</vt:lpstr>
      <vt:lpstr>Scénáře dlouhodobých simulací: Pardubický kraj</vt:lpstr>
      <vt:lpstr>Scénáře dlouhodobých simulací: Pardubický kraj</vt:lpstr>
      <vt:lpstr>Scénáře dlouhodobých simulací z 5. 3. 2021: Kraj Vysočina</vt:lpstr>
      <vt:lpstr>Scénáře dlouhodobých simulací: Kraj Vysočina</vt:lpstr>
      <vt:lpstr>Scénáře dlouhodobých simulací: Kraj Vysočina</vt:lpstr>
      <vt:lpstr>Scénáře dlouhodobých simulací z 5. 3. 2021:  Jihomoravský kraj</vt:lpstr>
      <vt:lpstr>Scénáře dlouhodobých simulací: Jihomoravský kraj</vt:lpstr>
      <vt:lpstr>Scénáře dlouhodobých simulací: Jihomoravský kraj</vt:lpstr>
      <vt:lpstr>Scénáře dlouhodobých simulací z 5. 3. 2021: Olomoucký kraj</vt:lpstr>
      <vt:lpstr>Scénáře dlouhodobých simulací: Olomoucký kraj</vt:lpstr>
      <vt:lpstr>Scénáře dlouhodobých simulací: Olomoucký kraj</vt:lpstr>
      <vt:lpstr>Scénáře dlouhodobých simulací z 5. 3. 2021: Zlínský kraj</vt:lpstr>
      <vt:lpstr>Scénáře dlouhodobých simulací: Zlínský kraj</vt:lpstr>
      <vt:lpstr>Scénáře dlouhodobých simulací: Zlínský kraj</vt:lpstr>
      <vt:lpstr>Scénáře dlouhodobých simulací z 5. 3. 2021:  Moravskoslezský kraj</vt:lpstr>
      <vt:lpstr>Scénáře dlouhodobých simulací: Moravskoslezský kraj</vt:lpstr>
      <vt:lpstr>Scénáře dlouhodobých simulací: Moravskoslezský kraj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Nováková Tereza Mgr.</dc:creator>
  <cp:lastModifiedBy>Ladislav Dušek</cp:lastModifiedBy>
  <cp:revision>647</cp:revision>
  <dcterms:created xsi:type="dcterms:W3CDTF">2020-11-16T08:14:04Z</dcterms:created>
  <dcterms:modified xsi:type="dcterms:W3CDTF">2021-05-31T18:06:20Z</dcterms:modified>
</cp:coreProperties>
</file>